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jfif" ContentType="image/jpe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4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5.xml" ContentType="application/vnd.openxmlformats-officedocument.presentationml.slideLayout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6.xml" ContentType="application/vnd.openxmlformats-officedocument.presentationml.slideLayout+xml"/>
  <Override PartName="/ppt/theme/theme6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7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8.xml" ContentType="application/vnd.openxmlformats-officedocument.presentationml.slideLayout+xml"/>
  <Override PartName="/ppt/theme/theme8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19.xml" ContentType="application/vnd.openxmlformats-officedocument.presentationml.slideLayout+xml"/>
  <Override PartName="/ppt/theme/theme9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20.xml" ContentType="application/vnd.openxmlformats-officedocument.presentationml.slideLayout+xml"/>
  <Override PartName="/ppt/theme/theme10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21.xml" ContentType="application/vnd.openxmlformats-officedocument.presentationml.slideLayout+xml"/>
  <Override PartName="/ppt/theme/theme11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12.xml" ContentType="application/vnd.openxmlformats-officedocument.theme+xml"/>
  <Override PartName="/ppt/theme/theme13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2.xml" ContentType="application/vnd.openxmlformats-officedocument.presentationml.notesSlide+xml"/>
  <Override PartName="/ppt/tags/tag25.xml" ContentType="application/vnd.openxmlformats-officedocument.presentationml.tags+xml"/>
  <Override PartName="/ppt/notesSlides/notesSlide3.xml" ContentType="application/vnd.openxmlformats-officedocument.presentationml.notesSlide+xml"/>
  <Override PartName="/ppt/tags/tag26.xml" ContentType="application/vnd.openxmlformats-officedocument.presentationml.tags+xml"/>
  <Override PartName="/ppt/notesSlides/notesSlide4.xml" ContentType="application/vnd.openxmlformats-officedocument.presentationml.notesSlide+xml"/>
  <Override PartName="/ppt/tags/tag27.xml" ContentType="application/vnd.openxmlformats-officedocument.presentationml.tags+xml"/>
  <Override PartName="/ppt/notesSlides/notesSlide5.xml" ContentType="application/vnd.openxmlformats-officedocument.presentationml.notesSlide+xml"/>
  <Override PartName="/ppt/tags/tag28.xml" ContentType="application/vnd.openxmlformats-officedocument.presentationml.tags+xml"/>
  <Override PartName="/ppt/notesSlides/notesSlide6.xml" ContentType="application/vnd.openxmlformats-officedocument.presentationml.notesSlide+xml"/>
  <Override PartName="/ppt/tags/tag29.xml" ContentType="application/vnd.openxmlformats-officedocument.presentationml.tags+xml"/>
  <Override PartName="/ppt/notesSlides/notesSlide7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8.xml" ContentType="application/vnd.openxmlformats-officedocument.presentationml.notesSlide+xml"/>
  <Override PartName="/ppt/tags/tag32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62" r:id="rId3"/>
    <p:sldMasterId id="2147483664" r:id="rId4"/>
    <p:sldMasterId id="2147483666" r:id="rId5"/>
    <p:sldMasterId id="2147483668" r:id="rId6"/>
    <p:sldMasterId id="2147483670" r:id="rId7"/>
    <p:sldMasterId id="2147483672" r:id="rId8"/>
    <p:sldMasterId id="2147483674" r:id="rId9"/>
    <p:sldMasterId id="2147483676" r:id="rId10"/>
    <p:sldMasterId id="2147483678" r:id="rId11"/>
    <p:sldMasterId id="2147483680" r:id="rId12"/>
  </p:sldMasterIdLst>
  <p:notesMasterIdLst>
    <p:notesMasterId r:id="rId40"/>
  </p:notesMasterIdLst>
  <p:sldIdLst>
    <p:sldId id="257" r:id="rId13"/>
    <p:sldId id="468" r:id="rId14"/>
    <p:sldId id="284" r:id="rId15"/>
    <p:sldId id="256" r:id="rId16"/>
    <p:sldId id="264" r:id="rId17"/>
    <p:sldId id="2147375166" r:id="rId18"/>
    <p:sldId id="5568" r:id="rId19"/>
    <p:sldId id="5592" r:id="rId20"/>
    <p:sldId id="5567" r:id="rId21"/>
    <p:sldId id="5595" r:id="rId22"/>
    <p:sldId id="1253" r:id="rId23"/>
    <p:sldId id="2147375245" r:id="rId24"/>
    <p:sldId id="2147375246" r:id="rId25"/>
    <p:sldId id="469" r:id="rId26"/>
    <p:sldId id="2147375247" r:id="rId27"/>
    <p:sldId id="268" r:id="rId28"/>
    <p:sldId id="260" r:id="rId29"/>
    <p:sldId id="270" r:id="rId30"/>
    <p:sldId id="262" r:id="rId31"/>
    <p:sldId id="263" r:id="rId32"/>
    <p:sldId id="266" r:id="rId33"/>
    <p:sldId id="269" r:id="rId34"/>
    <p:sldId id="2147375248" r:id="rId35"/>
    <p:sldId id="265" r:id="rId36"/>
    <p:sldId id="267" r:id="rId37"/>
    <p:sldId id="258" r:id="rId38"/>
    <p:sldId id="271" r:id="rId39"/>
  </p:sldIdLst>
  <p:sldSz cx="12192000" cy="6858000"/>
  <p:notesSz cx="6858000" cy="9144000"/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20000"/>
    <a:srgbClr val="7F7F7F"/>
    <a:srgbClr val="9696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86" d="100"/>
          <a:sy n="86" d="100"/>
        </p:scale>
        <p:origin x="562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slide" Target="slides/slide14.xml"/><Relationship Id="rId39" Type="http://schemas.openxmlformats.org/officeDocument/2006/relationships/slide" Target="slides/slide27.xml"/><Relationship Id="rId21" Type="http://schemas.openxmlformats.org/officeDocument/2006/relationships/slide" Target="slides/slide9.xml"/><Relationship Id="rId34" Type="http://schemas.openxmlformats.org/officeDocument/2006/relationships/slide" Target="slides/slide22.xml"/><Relationship Id="rId42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slide" Target="slides/slide17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2.xml"/><Relationship Id="rId32" Type="http://schemas.openxmlformats.org/officeDocument/2006/relationships/slide" Target="slides/slide20.xml"/><Relationship Id="rId37" Type="http://schemas.openxmlformats.org/officeDocument/2006/relationships/slide" Target="slides/slide25.xml"/><Relationship Id="rId40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slide" Target="slides/slide24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7.xml"/><Relationship Id="rId31" Type="http://schemas.openxmlformats.org/officeDocument/2006/relationships/slide" Target="slides/slide19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slide" Target="slides/slide18.xml"/><Relationship Id="rId35" Type="http://schemas.openxmlformats.org/officeDocument/2006/relationships/slide" Target="slides/slide23.xml"/><Relationship Id="rId43" Type="http://schemas.openxmlformats.org/officeDocument/2006/relationships/theme" Target="theme/theme1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slide" Target="slides/slide21.xml"/><Relationship Id="rId38" Type="http://schemas.openxmlformats.org/officeDocument/2006/relationships/slide" Target="slides/slide2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0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0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0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E506DF9-F0A8-42C4-8073-753FE7A813F5}" type="datetimeFigureOut">
              <a:rPr lang="en-AU" smtClean="0"/>
              <a:t>19/10/2021</a:t>
            </a:fld>
            <a:endParaRPr lang="en-AU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AU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B884118-C42D-41FE-A410-D319179E407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0753295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6CFAD1-D197-4A88-B173-A6412E995EE5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vo Apply Sans"/>
                <a:ea typeface="+mn-ea"/>
                <a:cs typeface="+mn-cs"/>
              </a:rPr>
              <a:pPr marL="0" marR="0" lvl="0" indent="0" algn="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Novo Apply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5142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6CFAD1-D197-4A88-B173-A6412E995EE5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vo Apply Sans"/>
                <a:ea typeface="+mn-ea"/>
                <a:cs typeface="+mn-cs"/>
              </a:rPr>
              <a:pPr marL="0" marR="0" lvl="0" indent="0" algn="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Novo Apply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19954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6CFAD1-D197-4A88-B173-A6412E995EE5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vo Apply Sans"/>
                <a:ea typeface="+mn-ea"/>
                <a:cs typeface="+mn-cs"/>
              </a:rPr>
              <a:pPr marL="0" marR="0" lvl="0" indent="0" algn="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Novo Apply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2640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6CFAD1-D197-4A88-B173-A6412E995EE5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vo Apply Sans"/>
                <a:ea typeface="+mn-ea"/>
                <a:cs typeface="+mn-cs"/>
              </a:rPr>
              <a:pPr marL="0" marR="0" lvl="0" indent="0" algn="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Novo Apply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61861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PI and collaborators: Equal par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6CFAD1-D197-4A88-B173-A6412E995EE5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vo Apply Sans"/>
                <a:ea typeface="+mn-ea"/>
                <a:cs typeface="+mn-cs"/>
              </a:rPr>
              <a:pPr marL="0" marR="0" lvl="0" indent="0" algn="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Novo Apply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43411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ese are research areas, not committee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6CFAD1-D197-4A88-B173-A6412E995EE5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vo Apply Sans"/>
                <a:ea typeface="+mn-ea"/>
                <a:cs typeface="+mn-cs"/>
              </a:rPr>
              <a:pPr marL="0" marR="0" lvl="0" indent="0" algn="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Novo Apply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662059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2022 Themes announced at the end of this pre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6CFAD1-D197-4A88-B173-A6412E995EE5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vo Apply Sans"/>
                <a:ea typeface="+mn-ea"/>
                <a:cs typeface="+mn-cs"/>
              </a:rPr>
              <a:pPr marL="0" marR="0" lvl="0" indent="0" algn="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Novo Apply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393087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6CFAD1-D197-4A88-B173-A6412E995EE5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vo Apply Sans"/>
                <a:ea typeface="+mn-ea"/>
                <a:cs typeface="+mn-cs"/>
              </a:rPr>
              <a:pPr marL="0" marR="0" lvl="0" indent="0" algn="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Novo Apply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210327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6CFAD1-D197-4A88-B173-A6412E995EE5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vo Apply Sans"/>
                <a:ea typeface="+mn-ea"/>
                <a:cs typeface="+mn-cs"/>
              </a:rPr>
              <a:pPr marL="0" marR="0" lvl="0" indent="0" algn="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Novo Apply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0892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g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5.png"/><Relationship Id="rId2" Type="http://schemas.openxmlformats.org/officeDocument/2006/relationships/tags" Target="../tags/tag2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91B6CB-EA61-463B-9BE6-C973201B093E}" type="datetimeFigureOut">
              <a:rPr lang="nl-NL" smtClean="0"/>
              <a:t>19-10-2021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2A41A9-402C-4B38-AED4-AF722CC509D0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514673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91B6CB-EA61-463B-9BE6-C973201B093E}" type="datetimeFigureOut">
              <a:rPr lang="nl-NL" smtClean="0"/>
              <a:t>19-10-2021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2A41A9-402C-4B38-AED4-AF722CC509D0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723806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91B6CB-EA61-463B-9BE6-C973201B093E}" type="datetimeFigureOut">
              <a:rPr lang="nl-NL" smtClean="0"/>
              <a:t>19-10-2021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2A41A9-402C-4B38-AED4-AF722CC509D0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806862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ro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026AD2D-4830-455D-B952-AB850C8CB2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7278406"/>
              </p:ext>
            </p:ext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026AD2D-4830-455D-B952-AB850C8CB2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C1294662-A343-4444-AD55-3744B1FAE9C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FLD_PresentationTitle"/>
          <p:cNvSpPr>
            <a:spLocks noGrp="1"/>
          </p:cNvSpPr>
          <p:nvPr>
            <p:ph type="ctrTitle" hasCustomPrompt="1"/>
          </p:nvPr>
        </p:nvSpPr>
        <p:spPr>
          <a:xfrm>
            <a:off x="359998" y="719928"/>
            <a:ext cx="6624000" cy="2344800"/>
          </a:xfrm>
        </p:spPr>
        <p:txBody>
          <a:bodyPr vert="horz" anchor="t" anchorCtr="0"/>
          <a:lstStyle>
            <a:lvl1pPr algn="l">
              <a:lnSpc>
                <a:spcPct val="88000"/>
              </a:lnSpc>
              <a:defRPr sz="5000" cap="none" baseline="0"/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18" name="FLD_Location">
            <a:extLst>
              <a:ext uri="{FF2B5EF4-FFF2-40B4-BE49-F238E27FC236}">
                <a16:creationId xmlns:a16="http://schemas.microsoft.com/office/drawing/2014/main" id="{BB8C9EA4-E67D-4A34-B86F-71EEFBB9414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9998" y="288000"/>
            <a:ext cx="4672800" cy="144000"/>
          </a:xfrm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/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 noProof="0"/>
              <a:t>Location</a:t>
            </a:r>
          </a:p>
        </p:txBody>
      </p:sp>
      <p:sp>
        <p:nvSpPr>
          <p:cNvPr id="17" name="Date_DateCustomA">
            <a:extLst>
              <a:ext uri="{FF2B5EF4-FFF2-40B4-BE49-F238E27FC236}">
                <a16:creationId xmlns:a16="http://schemas.microsoft.com/office/drawing/2014/main" id="{464433D8-7E46-49DE-8AB4-31CB50868CD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59998" y="442592"/>
            <a:ext cx="4672800" cy="144000"/>
          </a:xfrm>
        </p:spPr>
        <p:txBody>
          <a:bodyPr anchor="t" anchorCtr="0"/>
          <a:lstStyle>
            <a:lvl1pPr>
              <a:defRPr sz="900" cap="none" baseline="0">
                <a:solidFill>
                  <a:schemeClr val="tx2"/>
                </a:solidFill>
              </a:defRPr>
            </a:lvl1pPr>
          </a:lstStyle>
          <a:p>
            <a:pPr defTabSz="914446"/>
            <a:endParaRPr lang="en-GB">
              <a:solidFill>
                <a:srgbClr val="001965"/>
              </a:solidFill>
            </a:endParaRPr>
          </a:p>
        </p:txBody>
      </p:sp>
      <p:sp>
        <p:nvSpPr>
          <p:cNvPr id="15" name="FLD_PresenterName">
            <a:extLst>
              <a:ext uri="{FF2B5EF4-FFF2-40B4-BE49-F238E27FC236}">
                <a16:creationId xmlns:a16="http://schemas.microsoft.com/office/drawing/2014/main" id="{9A8A07E5-EAB6-437C-9B97-C198AFF3E1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9999" y="3064729"/>
            <a:ext cx="4672799" cy="427187"/>
          </a:xfrm>
        </p:spPr>
        <p:txBody>
          <a:bodyPr vert="horz" lIns="0" tIns="0" rIns="0" bIns="0" rtlCol="0" anchor="t" anchorCtr="0"/>
          <a:lstStyle>
            <a:lvl1pPr marL="0" indent="0">
              <a:buNone/>
              <a:defRPr lang="en-US" sz="2400" cap="none" spc="20" baseline="0" smtClean="0"/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 noProof="0"/>
              <a:t>Name</a:t>
            </a:r>
          </a:p>
        </p:txBody>
      </p:sp>
      <p:sp>
        <p:nvSpPr>
          <p:cNvPr id="20" name="FLD_Title">
            <a:extLst>
              <a:ext uri="{FF2B5EF4-FFF2-40B4-BE49-F238E27FC236}">
                <a16:creationId xmlns:a16="http://schemas.microsoft.com/office/drawing/2014/main" id="{2DB4EAC6-3589-47F7-8C10-D135DE0F70D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59999" y="3491916"/>
            <a:ext cx="4672798" cy="29288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1800" cap="none" spc="20" baseline="0" dirty="0"/>
            </a:lvl1pPr>
            <a:lvl2pPr marL="180621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9" lvl="0" indent="-180009"/>
            <a:r>
              <a:rPr lang="en-GB" noProof="0"/>
              <a:t>Title</a:t>
            </a:r>
          </a:p>
        </p:txBody>
      </p:sp>
      <p:sp>
        <p:nvSpPr>
          <p:cNvPr id="22" name="FLD_Department">
            <a:extLst>
              <a:ext uri="{FF2B5EF4-FFF2-40B4-BE49-F238E27FC236}">
                <a16:creationId xmlns:a16="http://schemas.microsoft.com/office/drawing/2014/main" id="{8E76946E-474F-4156-A0C2-1A81A79F6D1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9998" y="3784803"/>
            <a:ext cx="4672798" cy="292888"/>
          </a:xfr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en-GB" noProof="0"/>
              <a:t>Department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21637DC-0F3C-4D60-A026-8A48520D58E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540" y="6412559"/>
            <a:ext cx="1768521" cy="157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63499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759558-6CBF-4E04-86F0-D16733F315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7978309"/>
              </p:ext>
            </p:ext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F759558-6CBF-4E04-86F0-D16733F315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F027A3D5-3ED8-454D-B734-F573B5973A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431999"/>
            <a:ext cx="11472001" cy="980876"/>
          </a:xfrm>
        </p:spPr>
        <p:txBody>
          <a:bodyPr vert="horz"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902CE83-7DA6-4AA0-B399-DE551B9D7C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46"/>
            <a:endParaRPr lang="en-GB" dirty="0">
              <a:solidFill>
                <a:srgbClr val="001965"/>
              </a:solidFill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E1D438A-EBD2-4B4C-9354-3680400E23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46"/>
            <a:fld id="{4D833E3B-2778-42F4-9ABB-9F6DE98C7B48}" type="slidenum">
              <a:rPr lang="en-GB" smtClean="0">
                <a:solidFill>
                  <a:srgbClr val="001965"/>
                </a:solidFill>
              </a:rPr>
              <a:pPr defTabSz="914446"/>
              <a:t>‹#›</a:t>
            </a:fld>
            <a:endParaRPr lang="en-GB" dirty="0">
              <a:solidFill>
                <a:srgbClr val="00196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576577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759558-6CBF-4E04-86F0-D16733F315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8799292"/>
              </p:ext>
            </p:ext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F759558-6CBF-4E04-86F0-D16733F315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F027A3D5-3ED8-454D-B734-F573B5973A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431999"/>
            <a:ext cx="11472001" cy="980876"/>
          </a:xfrm>
        </p:spPr>
        <p:txBody>
          <a:bodyPr vert="horz"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902CE83-7DA6-4AA0-B399-DE551B9D7C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46"/>
            <a:endParaRPr lang="en-GB" dirty="0">
              <a:solidFill>
                <a:srgbClr val="001965"/>
              </a:solidFill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E1D438A-EBD2-4B4C-9354-3680400E23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46"/>
            <a:fld id="{4D833E3B-2778-42F4-9ABB-9F6DE98C7B48}" type="slidenum">
              <a:rPr lang="en-GB" smtClean="0">
                <a:solidFill>
                  <a:srgbClr val="001965"/>
                </a:solidFill>
              </a:rPr>
              <a:pPr defTabSz="914446"/>
              <a:t>‹#›</a:t>
            </a:fld>
            <a:endParaRPr lang="en-GB" dirty="0">
              <a:solidFill>
                <a:srgbClr val="00196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64961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759558-6CBF-4E04-86F0-D16733F315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0266324"/>
              </p:ext>
            </p:ext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F759558-6CBF-4E04-86F0-D16733F315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F027A3D5-3ED8-454D-B734-F573B5973A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431999"/>
            <a:ext cx="11472001" cy="980876"/>
          </a:xfrm>
        </p:spPr>
        <p:txBody>
          <a:bodyPr vert="horz"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902CE83-7DA6-4AA0-B399-DE551B9D7C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46"/>
            <a:endParaRPr lang="en-GB" dirty="0">
              <a:solidFill>
                <a:srgbClr val="001965"/>
              </a:solidFill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E1D438A-EBD2-4B4C-9354-3680400E23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46"/>
            <a:fld id="{4D833E3B-2778-42F4-9ABB-9F6DE98C7B48}" type="slidenum">
              <a:rPr lang="en-GB" smtClean="0">
                <a:solidFill>
                  <a:srgbClr val="001965"/>
                </a:solidFill>
              </a:rPr>
              <a:pPr defTabSz="914446"/>
              <a:t>‹#›</a:t>
            </a:fld>
            <a:endParaRPr lang="en-GB" dirty="0">
              <a:solidFill>
                <a:srgbClr val="00196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49221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Conten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840DB1A-B782-4884-A799-BD03B4A7DB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5574129"/>
              </p:ext>
            </p:ext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840DB1A-B782-4884-A799-BD03B4A7DB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6" y="432001"/>
            <a:ext cx="11472862" cy="980875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8775" y="1676400"/>
            <a:ext cx="11472863" cy="4443600"/>
          </a:xfrm>
        </p:spPr>
        <p:txBody>
          <a:bodyPr numCol="1" spcCol="252000">
            <a:noAutofit/>
          </a:bodyPr>
          <a:lstStyle>
            <a:lvl1pPr>
              <a:spcBef>
                <a:spcPts val="600"/>
              </a:spcBef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Add bullet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149244D-0233-4970-A8BF-377AE4AB93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46"/>
            <a:endParaRPr lang="en-GB">
              <a:solidFill>
                <a:srgbClr val="001965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15F3C1-9DF3-4DDF-B795-65E384CD62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46"/>
            <a:fld id="{4D833E3B-2778-42F4-9ABB-9F6DE98C7B48}" type="slidenum">
              <a:rPr lang="en-GB" smtClean="0">
                <a:solidFill>
                  <a:srgbClr val="001965"/>
                </a:solidFill>
              </a:rPr>
              <a:pPr defTabSz="914446"/>
              <a:t>‹#›</a:t>
            </a:fld>
            <a:endParaRPr lang="en-GB">
              <a:solidFill>
                <a:srgbClr val="00196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96529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759558-6CBF-4E04-86F0-D16733F315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420274"/>
              </p:ext>
            </p:ext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F759558-6CBF-4E04-86F0-D16733F315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F027A3D5-3ED8-454D-B734-F573B5973A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431999"/>
            <a:ext cx="11472001" cy="980876"/>
          </a:xfrm>
        </p:spPr>
        <p:txBody>
          <a:bodyPr vert="horz"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902CE83-7DA6-4AA0-B399-DE551B9D7C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46"/>
            <a:endParaRPr lang="en-GB" dirty="0">
              <a:solidFill>
                <a:srgbClr val="001965"/>
              </a:solidFill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E1D438A-EBD2-4B4C-9354-3680400E23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46"/>
            <a:fld id="{4D833E3B-2778-42F4-9ABB-9F6DE98C7B48}" type="slidenum">
              <a:rPr lang="en-GB" smtClean="0">
                <a:solidFill>
                  <a:srgbClr val="001965"/>
                </a:solidFill>
              </a:rPr>
              <a:pPr defTabSz="914446"/>
              <a:t>‹#›</a:t>
            </a:fld>
            <a:endParaRPr lang="en-GB" dirty="0">
              <a:solidFill>
                <a:srgbClr val="00196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100027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Conten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840DB1A-B782-4884-A799-BD03B4A7DB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0851669"/>
              </p:ext>
            </p:ext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840DB1A-B782-4884-A799-BD03B4A7DB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6" y="432001"/>
            <a:ext cx="11472862" cy="980875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8775" y="1676400"/>
            <a:ext cx="11472863" cy="4443600"/>
          </a:xfrm>
        </p:spPr>
        <p:txBody>
          <a:bodyPr numCol="1" spcCol="252000">
            <a:noAutofit/>
          </a:bodyPr>
          <a:lstStyle>
            <a:lvl1pPr>
              <a:spcBef>
                <a:spcPts val="600"/>
              </a:spcBef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Add bullet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149244D-0233-4970-A8BF-377AE4AB93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46"/>
            <a:endParaRPr lang="en-GB">
              <a:solidFill>
                <a:srgbClr val="001965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15F3C1-9DF3-4DDF-B795-65E384CD62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46"/>
            <a:fld id="{4D833E3B-2778-42F4-9ABB-9F6DE98C7B48}" type="slidenum">
              <a:rPr lang="en-GB" smtClean="0">
                <a:solidFill>
                  <a:srgbClr val="001965"/>
                </a:solidFill>
              </a:rPr>
              <a:pPr defTabSz="914446"/>
              <a:t>‹#›</a:t>
            </a:fld>
            <a:endParaRPr lang="en-GB">
              <a:solidFill>
                <a:srgbClr val="00196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769376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759558-6CBF-4E04-86F0-D16733F315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7148039"/>
              </p:ext>
            </p:ext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F759558-6CBF-4E04-86F0-D16733F315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F027A3D5-3ED8-454D-B734-F573B5973A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431999"/>
            <a:ext cx="11472001" cy="980876"/>
          </a:xfrm>
        </p:spPr>
        <p:txBody>
          <a:bodyPr vert="horz"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902CE83-7DA6-4AA0-B399-DE551B9D7C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46"/>
            <a:endParaRPr lang="en-GB" dirty="0">
              <a:solidFill>
                <a:srgbClr val="001965"/>
              </a:solidFill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E1D438A-EBD2-4B4C-9354-3680400E23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46"/>
            <a:fld id="{4D833E3B-2778-42F4-9ABB-9F6DE98C7B48}" type="slidenum">
              <a:rPr lang="en-GB" smtClean="0">
                <a:solidFill>
                  <a:srgbClr val="001965"/>
                </a:solidFill>
              </a:rPr>
              <a:pPr defTabSz="914446"/>
              <a:t>‹#›</a:t>
            </a:fld>
            <a:endParaRPr lang="en-GB" dirty="0">
              <a:solidFill>
                <a:srgbClr val="00196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93443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91B6CB-EA61-463B-9BE6-C973201B093E}" type="datetimeFigureOut">
              <a:rPr lang="nl-NL" smtClean="0"/>
              <a:t>19-10-2021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2A41A9-402C-4B38-AED4-AF722CC509D0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5417486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597D382-AD51-4063-B382-89E552C656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5686362"/>
              </p:ext>
            </p:ext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5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597D382-AD51-4063-B382-89E552C656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>
            <a:extLst>
              <a:ext uri="{FF2B5EF4-FFF2-40B4-BE49-F238E27FC236}">
                <a16:creationId xmlns:a16="http://schemas.microsoft.com/office/drawing/2014/main" id="{0F3B28CD-A795-4AD8-AB06-FA5B88FEC4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432001"/>
            <a:ext cx="6044400" cy="954087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1676400"/>
            <a:ext cx="6044400" cy="4443599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BF743C10-183C-44BB-A14A-43B85B7760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950400" y="0"/>
            <a:ext cx="5241600" cy="6861600"/>
          </a:xfrm>
          <a:solidFill>
            <a:schemeClr val="bg2"/>
          </a:solidFill>
        </p:spPr>
        <p:txBody>
          <a:bodyPr vert="horz" lIns="2160000" tIns="360000" rIns="360000" bIns="360000" rtlCol="0" anchor="b" anchorCtr="0">
            <a:noAutofit/>
          </a:bodyPr>
          <a:lstStyle>
            <a:lvl1pPr marL="0" indent="0">
              <a:buNone/>
              <a:defRPr lang="en-GB" sz="1600" dirty="0"/>
            </a:lvl1pPr>
          </a:lstStyle>
          <a:p>
            <a:pPr marL="180009" lvl="0" indent="-180009" algn="r"/>
            <a:r>
              <a:rPr lang="en-GB" dirty="0"/>
              <a:t>Click grey background to insert dark/light picture using the Insert tab, Pictures or </a:t>
            </a:r>
            <a:r>
              <a:rPr lang="en-GB" dirty="0" err="1"/>
              <a:t>Templafy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212C6DA-55DB-46D5-90DC-87C5D36FC87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880000" y="6455229"/>
            <a:ext cx="3524400" cy="144000"/>
          </a:xfrm>
        </p:spPr>
        <p:txBody>
          <a:bodyPr/>
          <a:lstStyle/>
          <a:p>
            <a:pPr defTabSz="914446"/>
            <a:endParaRPr lang="en-GB" dirty="0">
              <a:solidFill>
                <a:srgbClr val="001965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E189FA5-2C91-44B4-A6E3-31243B4C07C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914446"/>
            <a:fld id="{4D833E3B-2778-42F4-9ABB-9F6DE98C7B48}" type="slidenum">
              <a:rPr lang="en-GB" smtClean="0">
                <a:solidFill>
                  <a:srgbClr val="001965"/>
                </a:solidFill>
              </a:rPr>
              <a:pPr defTabSz="914446"/>
              <a:t>‹#›</a:t>
            </a:fld>
            <a:endParaRPr lang="en-GB" dirty="0">
              <a:solidFill>
                <a:srgbClr val="00196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094664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DF135C3-700A-4D78-8DBE-48875ADE1B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8188327"/>
              </p:ext>
            </p:ext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3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DF135C3-700A-4D78-8DBE-48875ADE1B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F9DDD2BF-242A-4CBC-AD07-3F2487F2A5EE}"/>
              </a:ext>
            </a:extLst>
          </p:cNvPr>
          <p:cNvSpPr/>
          <p:nvPr userDrawn="1"/>
        </p:nvSpPr>
        <p:spPr>
          <a:xfrm>
            <a:off x="2" y="5777999"/>
            <a:ext cx="5970299" cy="1080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vo Apply Sans"/>
              <a:ea typeface="+mn-ea"/>
              <a:cs typeface="+mn-cs"/>
            </a:endParaRPr>
          </a:p>
        </p:txBody>
      </p:sp>
      <p:sp>
        <p:nvSpPr>
          <p:cNvPr id="29" name="Subtitle 2">
            <a:extLst>
              <a:ext uri="{FF2B5EF4-FFF2-40B4-BE49-F238E27FC236}">
                <a16:creationId xmlns:a16="http://schemas.microsoft.com/office/drawing/2014/main" id="{B56D780A-02FB-4BA3-B6DB-79807A7446D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60000" y="3132000"/>
            <a:ext cx="4680000" cy="1872000"/>
          </a:xfrm>
        </p:spPr>
        <p:txBody>
          <a:bodyPr/>
          <a:lstStyle>
            <a:lvl1pPr marL="0" indent="0" algn="l">
              <a:lnSpc>
                <a:spcPct val="101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/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None/>
              <a:defRPr sz="2000"/>
            </a:lvl9pPr>
          </a:lstStyle>
          <a:p>
            <a:r>
              <a:rPr lang="en-GB" noProof="0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96A7FBD-AEFF-4310-BB28-ED064BEEF2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9998" y="720000"/>
            <a:ext cx="4680000" cy="2412000"/>
          </a:xfrm>
        </p:spPr>
        <p:txBody>
          <a:bodyPr vert="horz" anchor="t" anchorCtr="0"/>
          <a:lstStyle>
            <a:lvl1pPr algn="l">
              <a:lnSpc>
                <a:spcPct val="88000"/>
              </a:lnSpc>
              <a:defRPr sz="5000" cap="none" spc="-10" baseline="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5B810EC0-7013-4FD0-B2E5-B11B2BB7FF7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970300" y="0"/>
            <a:ext cx="6213600" cy="6861600"/>
          </a:xfrm>
          <a:solidFill>
            <a:schemeClr val="bg2"/>
          </a:solidFill>
        </p:spPr>
        <p:txBody>
          <a:bodyPr vert="horz" lIns="1800000" tIns="360000" rIns="360000" bIns="360000" rtlCol="0" anchor="b" anchorCtr="0">
            <a:noAutofit/>
          </a:bodyPr>
          <a:lstStyle>
            <a:lvl1pPr marL="0" indent="0" algn="r">
              <a:buNone/>
              <a:defRPr lang="en-GB" sz="1600" dirty="0"/>
            </a:lvl1pPr>
          </a:lstStyle>
          <a:p>
            <a:pPr marL="180009" lvl="0" indent="-180009" algn="r"/>
            <a:r>
              <a:rPr lang="en-GB" noProof="0"/>
              <a:t>Click grey background to insert dark/light picture using the Insert tab, Pictures or Templafy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6B5BC7A-ED41-4ED8-A246-95CFAF22195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000" y="6382800"/>
            <a:ext cx="1857600" cy="229210"/>
          </a:xfrm>
          <a:prstGeom prst="rect">
            <a:avLst/>
          </a:prstGeo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B5AABA0A-A905-4FF0-B6A2-98EA6E1B6A61}"/>
              </a:ext>
            </a:extLst>
          </p:cNvPr>
          <p:cNvGrpSpPr/>
          <p:nvPr userDrawn="1"/>
        </p:nvGrpSpPr>
        <p:grpSpPr>
          <a:xfrm>
            <a:off x="263290" y="645599"/>
            <a:ext cx="935748" cy="202805"/>
            <a:chOff x="263290" y="259732"/>
            <a:chExt cx="935748" cy="202805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38276C8-BE9B-41CF-8E8F-7A5FA076DB75}"/>
                </a:ext>
              </a:extLst>
            </p:cNvPr>
            <p:cNvSpPr/>
            <p:nvPr userDrawn="1"/>
          </p:nvSpPr>
          <p:spPr>
            <a:xfrm>
              <a:off x="263290" y="259732"/>
              <a:ext cx="935748" cy="20280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vo Apply Sans"/>
                <a:ea typeface="+mn-ea"/>
                <a:cs typeface="+mn-cs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4BAA9365-13CC-4F97-894C-FD239F53728C}"/>
                </a:ext>
              </a:extLst>
            </p:cNvPr>
            <p:cNvSpPr txBox="1"/>
            <p:nvPr userDrawn="1"/>
          </p:nvSpPr>
          <p:spPr>
            <a:xfrm>
              <a:off x="359999" y="288000"/>
              <a:ext cx="791999" cy="144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l" defTabSz="914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2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vo Apply Sans"/>
                  <a:ea typeface="+mn-ea"/>
                  <a:cs typeface="+mn-cs"/>
                </a:rPr>
                <a:t>Page</a:t>
              </a:r>
            </a:p>
          </p:txBody>
        </p:sp>
      </p:grp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F610153-D98D-4119-9AAA-03D7EA10096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904000" y="6455229"/>
            <a:ext cx="2714400" cy="1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914446"/>
            <a:endParaRPr lang="en-GB">
              <a:solidFill>
                <a:srgbClr val="FFFFFF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3A04FFF-25A5-4DEF-98A7-30E9B62C2FE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914446"/>
            <a:fld id="{4D833E3B-2778-42F4-9ABB-9F6DE98C7B48}" type="slidenum">
              <a:rPr lang="en-GB" smtClean="0">
                <a:solidFill>
                  <a:srgbClr val="001965"/>
                </a:solidFill>
              </a:rPr>
              <a:pPr defTabSz="914446"/>
              <a:t>‹#›</a:t>
            </a:fld>
            <a:endParaRPr lang="en-GB">
              <a:solidFill>
                <a:srgbClr val="001965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D04F2AD-16E9-49DD-A79C-843FF0744F0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400" y="6412801"/>
            <a:ext cx="1768800" cy="157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875713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" y="6334316"/>
            <a:ext cx="12192000" cy="664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8000" spc="-5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455621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5F1C2E-ED49-4AD7-8F55-4C79BD3F2244}" type="datetimeFigureOut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.10.2021</a:t>
            </a:fld>
            <a:endParaRPr kumimoji="0" lang="de-DE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900" b="0" i="0" u="none" strike="noStrike" kern="1200" cap="all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A1A14A-0B70-4A15-85B3-A2C66971D026}" type="slidenum">
              <a:rPr kumimoji="0" lang="de-DE" sz="105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142523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5F1C2E-ED49-4AD7-8F55-4C79BD3F2244}" type="datetimeFigureOut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.10.2021</a:t>
            </a:fld>
            <a:endParaRPr kumimoji="0" lang="de-DE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900" b="0" i="0" u="none" strike="noStrike" kern="1200" cap="all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A1A14A-0B70-4A15-85B3-A2C66971D026}" type="slidenum">
              <a:rPr kumimoji="0" lang="de-DE" sz="105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970683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91B6CB-EA61-463B-9BE6-C973201B093E}" type="datetimeFigureOut">
              <a:rPr lang="nl-NL" smtClean="0"/>
              <a:t>19-10-2021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2A41A9-402C-4B38-AED4-AF722CC509D0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954838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91B6CB-EA61-463B-9BE6-C973201B093E}" type="datetimeFigureOut">
              <a:rPr lang="nl-NL" smtClean="0"/>
              <a:t>19-10-2021</a:t>
            </a:fld>
            <a:endParaRPr lang="nl-NL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2A41A9-402C-4B38-AED4-AF722CC509D0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812812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7" name="Tijdelijke aanduiding voo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91B6CB-EA61-463B-9BE6-C973201B093E}" type="datetimeFigureOut">
              <a:rPr lang="nl-NL" smtClean="0"/>
              <a:t>19-10-2021</a:t>
            </a:fld>
            <a:endParaRPr lang="nl-NL"/>
          </a:p>
        </p:txBody>
      </p:sp>
      <p:sp>
        <p:nvSpPr>
          <p:cNvPr id="8" name="Tijdelijke aanduiding voor voet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9" name="Tijdelijke aanduiding voor dia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2A41A9-402C-4B38-AED4-AF722CC509D0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952922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91B6CB-EA61-463B-9BE6-C973201B093E}" type="datetimeFigureOut">
              <a:rPr lang="nl-NL" smtClean="0"/>
              <a:t>19-10-2021</a:t>
            </a:fld>
            <a:endParaRPr lang="nl-NL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2A41A9-402C-4B38-AED4-AF722CC509D0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291719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91B6CB-EA61-463B-9BE6-C973201B093E}" type="datetimeFigureOut">
              <a:rPr lang="nl-NL" smtClean="0"/>
              <a:t>19-10-2021</a:t>
            </a:fld>
            <a:endParaRPr lang="nl-NL"/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2A41A9-402C-4B38-AED4-AF722CC509D0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020507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91B6CB-EA61-463B-9BE6-C973201B093E}" type="datetimeFigureOut">
              <a:rPr lang="nl-NL" smtClean="0"/>
              <a:t>19-10-2021</a:t>
            </a:fld>
            <a:endParaRPr lang="nl-NL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2A41A9-402C-4B38-AED4-AF722CC509D0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212586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91B6CB-EA61-463B-9BE6-C973201B093E}" type="datetimeFigureOut">
              <a:rPr lang="nl-NL" smtClean="0"/>
              <a:t>19-10-2021</a:t>
            </a:fld>
            <a:endParaRPr lang="nl-NL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2A41A9-402C-4B38-AED4-AF722CC509D0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435156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7.vml"/><Relationship Id="rId7" Type="http://schemas.openxmlformats.org/officeDocument/2006/relationships/image" Target="../media/image2.png"/><Relationship Id="rId2" Type="http://schemas.openxmlformats.org/officeDocument/2006/relationships/theme" Target="../theme/theme10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7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9.vml"/><Relationship Id="rId7" Type="http://schemas.openxmlformats.org/officeDocument/2006/relationships/image" Target="../media/image2.png"/><Relationship Id="rId2" Type="http://schemas.openxmlformats.org/officeDocument/2006/relationships/theme" Target="../theme/theme11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9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theme" Target="../theme/theme12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3.vml"/><Relationship Id="rId7" Type="http://schemas.openxmlformats.org/officeDocument/2006/relationships/image" Target="../media/image2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5.vml"/><Relationship Id="rId7" Type="http://schemas.openxmlformats.org/officeDocument/2006/relationships/image" Target="../media/image2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5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7.vml"/><Relationship Id="rId7" Type="http://schemas.openxmlformats.org/officeDocument/2006/relationships/image" Target="../media/image2.png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7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9.vml"/><Relationship Id="rId7" Type="http://schemas.openxmlformats.org/officeDocument/2006/relationships/image" Target="../media/image2.png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9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1.vml"/><Relationship Id="rId7" Type="http://schemas.openxmlformats.org/officeDocument/2006/relationships/image" Target="../media/image2.png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1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3.vml"/><Relationship Id="rId7" Type="http://schemas.openxmlformats.org/officeDocument/2006/relationships/image" Target="../media/image2.png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3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5.vml"/><Relationship Id="rId7" Type="http://schemas.openxmlformats.org/officeDocument/2006/relationships/image" Target="../media/image2.png"/><Relationship Id="rId2" Type="http://schemas.openxmlformats.org/officeDocument/2006/relationships/theme" Target="../theme/theme9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91B6CB-EA61-463B-9BE6-C973201B093E}" type="datetimeFigureOut">
              <a:rPr lang="nl-NL" smtClean="0"/>
              <a:t>19-10-2021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22A41A9-402C-4B38-AED4-AF722CC509D0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720521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5D1C1C0-D866-4E5D-8571-980DB63D78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99827009"/>
              </p:ext>
            </p:ext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1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5D1C1C0-D866-4E5D-8571-980DB63D78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0000" y="453197"/>
            <a:ext cx="11472001" cy="95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0000" y="1676400"/>
            <a:ext cx="11472001" cy="444734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 dirty="0"/>
              <a:t>Add bulle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3"/>
          </p:nvPr>
        </p:nvSpPr>
        <p:spPr>
          <a:xfrm>
            <a:off x="2880000" y="6455229"/>
            <a:ext cx="46728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cap="none" spc="20" baseline="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2"/>
          </p:nvPr>
        </p:nvSpPr>
        <p:spPr>
          <a:xfrm>
            <a:off x="0" y="6847200"/>
            <a:ext cx="0" cy="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" cap="all" baseline="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DE1991C-4C42-433F-900F-A82FDEE199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1124" y="6443275"/>
            <a:ext cx="360876" cy="16790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4D833E3B-2778-42F4-9ABB-9F6DE98C7B48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713129A-9916-45C7-854F-6240E4D2EDF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540" y="6412559"/>
            <a:ext cx="1768521" cy="157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38779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</p:sldLayoutIdLst>
  <p:hf hdr="0" dt="0"/>
  <p:txStyles>
    <p:titleStyle>
      <a:lvl1pPr algn="l" defTabSz="914446" rtl="0" eaLnBrk="1" latinLnBrk="0" hangingPunct="1">
        <a:lnSpc>
          <a:spcPct val="93000"/>
        </a:lnSpc>
        <a:spcBef>
          <a:spcPct val="0"/>
        </a:spcBef>
        <a:buNone/>
        <a:defRPr sz="3200" kern="1200" cap="none" spc="13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009" indent="-180009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lang="en-GB" sz="2000" kern="1200" spc="7" baseline="0" noProof="0" dirty="0" smtClean="0">
          <a:solidFill>
            <a:schemeClr val="tx2"/>
          </a:solidFill>
          <a:latin typeface="+mn-lt"/>
          <a:ea typeface="+mn-ea"/>
          <a:cs typeface="+mn-cs"/>
        </a:defRPr>
      </a:lvl1pPr>
      <a:lvl2pPr marL="360018" indent="-179397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800" kern="1200" spc="7">
          <a:solidFill>
            <a:schemeClr val="tx2"/>
          </a:solidFill>
          <a:latin typeface="+mn-lt"/>
          <a:ea typeface="+mn-ea"/>
          <a:cs typeface="+mn-cs"/>
        </a:defRPr>
      </a:lvl2pPr>
      <a:lvl3pPr marL="539777" indent="-180009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 kern="1200" spc="7">
          <a:solidFill>
            <a:schemeClr val="tx2"/>
          </a:solidFill>
          <a:latin typeface="+mn-lt"/>
          <a:ea typeface="+mn-ea"/>
          <a:cs typeface="+mn-cs"/>
        </a:defRPr>
      </a:lvl3pPr>
      <a:lvl4pPr marL="720036" indent="-180009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tabLst>
          <a:tab pos="896983" algn="l"/>
        </a:tabLst>
        <a:defRPr sz="1400" kern="1200" spc="7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​"/>
        <a:defRPr lang="en-GB" sz="2000" b="1" kern="1200" cap="none" spc="7" baseline="0" noProof="0" dirty="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​"/>
        <a:defRPr sz="2000" kern="1200" spc="7">
          <a:solidFill>
            <a:schemeClr val="tx2"/>
          </a:solidFill>
          <a:latin typeface="+mn-lt"/>
          <a:ea typeface="+mn-ea"/>
          <a:cs typeface="+mn-cs"/>
        </a:defRPr>
      </a:lvl6pPr>
      <a:lvl7pPr marL="180009" indent="-180009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400" kern="1200" spc="7" baseline="0">
          <a:solidFill>
            <a:schemeClr val="tx2"/>
          </a:solidFill>
          <a:latin typeface="+mn-lt"/>
          <a:ea typeface="+mn-ea"/>
          <a:cs typeface="+mn-cs"/>
        </a:defRPr>
      </a:lvl7pPr>
      <a:lvl8pPr marL="180009" indent="-180009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400" kern="1200" spc="7">
          <a:solidFill>
            <a:schemeClr val="tx2"/>
          </a:solidFill>
          <a:latin typeface="+mn-lt"/>
          <a:ea typeface="+mn-ea"/>
          <a:cs typeface="+mn-cs"/>
        </a:defRPr>
      </a:lvl8pPr>
      <a:lvl9pPr marL="180009" indent="-180009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400" kern="1200" spc="7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5">
          <p15:clr>
            <a:srgbClr val="F26B43"/>
          </p15:clr>
        </p15:guide>
        <p15:guide id="2" orient="horz" pos="1584">
          <p15:clr>
            <a:srgbClr val="F26B43"/>
          </p15:clr>
        </p15:guide>
        <p15:guide id="3" orient="horz" pos="1335">
          <p15:clr>
            <a:srgbClr val="F26B43"/>
          </p15:clr>
        </p15:guide>
        <p15:guide id="4" orient="horz" pos="5787">
          <p15:clr>
            <a:srgbClr val="F26B43"/>
          </p15:clr>
        </p15:guide>
        <p15:guide id="6" pos="11180">
          <p15:clr>
            <a:srgbClr val="F26B43"/>
          </p15:clr>
        </p15:guide>
        <p15:guide id="8" pos="339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5D1C1C0-D866-4E5D-8571-980DB63D78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697850278"/>
              </p:ext>
            </p:ext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9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5D1C1C0-D866-4E5D-8571-980DB63D78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0000" y="453197"/>
            <a:ext cx="11472001" cy="95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0000" y="1676400"/>
            <a:ext cx="11472001" cy="444734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 dirty="0"/>
              <a:t>Add bulle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3"/>
          </p:nvPr>
        </p:nvSpPr>
        <p:spPr>
          <a:xfrm>
            <a:off x="2880000" y="6455229"/>
            <a:ext cx="46728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cap="none" spc="20" baseline="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2"/>
          </p:nvPr>
        </p:nvSpPr>
        <p:spPr>
          <a:xfrm>
            <a:off x="0" y="6847200"/>
            <a:ext cx="0" cy="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" cap="all" baseline="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DE1991C-4C42-433F-900F-A82FDEE199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1124" y="6443275"/>
            <a:ext cx="360876" cy="16790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4D833E3B-2778-42F4-9ABB-9F6DE98C7B48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713129A-9916-45C7-854F-6240E4D2EDF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540" y="6412559"/>
            <a:ext cx="1768521" cy="157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03870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</p:sldLayoutIdLst>
  <p:hf hdr="0" dt="0"/>
  <p:txStyles>
    <p:titleStyle>
      <a:lvl1pPr algn="l" defTabSz="914446" rtl="0" eaLnBrk="1" latinLnBrk="0" hangingPunct="1">
        <a:lnSpc>
          <a:spcPct val="93000"/>
        </a:lnSpc>
        <a:spcBef>
          <a:spcPct val="0"/>
        </a:spcBef>
        <a:buNone/>
        <a:defRPr sz="3200" kern="1200" cap="none" spc="13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009" indent="-180009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lang="en-GB" sz="2000" kern="1200" spc="7" baseline="0" noProof="0" dirty="0" smtClean="0">
          <a:solidFill>
            <a:schemeClr val="tx2"/>
          </a:solidFill>
          <a:latin typeface="+mn-lt"/>
          <a:ea typeface="+mn-ea"/>
          <a:cs typeface="+mn-cs"/>
        </a:defRPr>
      </a:lvl1pPr>
      <a:lvl2pPr marL="360018" indent="-179397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800" kern="1200" spc="7">
          <a:solidFill>
            <a:schemeClr val="tx2"/>
          </a:solidFill>
          <a:latin typeface="+mn-lt"/>
          <a:ea typeface="+mn-ea"/>
          <a:cs typeface="+mn-cs"/>
        </a:defRPr>
      </a:lvl2pPr>
      <a:lvl3pPr marL="539777" indent="-180009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 kern="1200" spc="7">
          <a:solidFill>
            <a:schemeClr val="tx2"/>
          </a:solidFill>
          <a:latin typeface="+mn-lt"/>
          <a:ea typeface="+mn-ea"/>
          <a:cs typeface="+mn-cs"/>
        </a:defRPr>
      </a:lvl3pPr>
      <a:lvl4pPr marL="720036" indent="-180009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tabLst>
          <a:tab pos="896983" algn="l"/>
        </a:tabLst>
        <a:defRPr sz="1400" kern="1200" spc="7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​"/>
        <a:defRPr lang="en-GB" sz="2000" b="1" kern="1200" cap="none" spc="7" baseline="0" noProof="0" dirty="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​"/>
        <a:defRPr sz="2000" kern="1200" spc="7">
          <a:solidFill>
            <a:schemeClr val="tx2"/>
          </a:solidFill>
          <a:latin typeface="+mn-lt"/>
          <a:ea typeface="+mn-ea"/>
          <a:cs typeface="+mn-cs"/>
        </a:defRPr>
      </a:lvl6pPr>
      <a:lvl7pPr marL="180009" indent="-180009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400" kern="1200" spc="7" baseline="0">
          <a:solidFill>
            <a:schemeClr val="tx2"/>
          </a:solidFill>
          <a:latin typeface="+mn-lt"/>
          <a:ea typeface="+mn-ea"/>
          <a:cs typeface="+mn-cs"/>
        </a:defRPr>
      </a:lvl7pPr>
      <a:lvl8pPr marL="180009" indent="-180009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400" kern="1200" spc="7">
          <a:solidFill>
            <a:schemeClr val="tx2"/>
          </a:solidFill>
          <a:latin typeface="+mn-lt"/>
          <a:ea typeface="+mn-ea"/>
          <a:cs typeface="+mn-cs"/>
        </a:defRPr>
      </a:lvl8pPr>
      <a:lvl9pPr marL="180009" indent="-180009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400" kern="1200" spc="7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5">
          <p15:clr>
            <a:srgbClr val="F26B43"/>
          </p15:clr>
        </p15:guide>
        <p15:guide id="2" orient="horz" pos="1584">
          <p15:clr>
            <a:srgbClr val="F26B43"/>
          </p15:clr>
        </p15:guide>
        <p15:guide id="3" orient="horz" pos="1335">
          <p15:clr>
            <a:srgbClr val="F26B43"/>
          </p15:clr>
        </p15:guide>
        <p15:guide id="4" orient="horz" pos="5787">
          <p15:clr>
            <a:srgbClr val="F26B43"/>
          </p15:clr>
        </p15:guide>
        <p15:guide id="6" pos="11180">
          <p15:clr>
            <a:srgbClr val="F26B43"/>
          </p15:clr>
        </p15:guide>
        <p15:guide id="8" pos="339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5734"/>
            <a:ext cx="10058400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FFFFFF"/>
                </a:solidFill>
              </a:defRPr>
            </a:lvl1pPr>
          </a:lstStyle>
          <a:p>
            <a:fld id="{B05F1C2E-ED49-4AD7-8F55-4C79BD3F2244}" type="datetimeFigureOut">
              <a:rPr lang="de-DE" smtClean="0"/>
              <a:t>19.10.2021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baseline="0">
                <a:solidFill>
                  <a:srgbClr val="FFFFFF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rgbClr val="FFFFFF"/>
                </a:solidFill>
              </a:defRPr>
            </a:lvl1pPr>
          </a:lstStyle>
          <a:p>
            <a:fld id="{EBA1A14A-0B70-4A15-85B3-A2C66971D026}" type="slidenum">
              <a:rPr lang="de-DE" smtClean="0"/>
              <a:t>‹#›</a:t>
            </a:fld>
            <a:endParaRPr lang="de-DE"/>
          </a:p>
        </p:txBody>
      </p:sp>
      <p:cxnSp>
        <p:nvCxnSpPr>
          <p:cNvPr id="10" name="Straight Connector 9"/>
          <p:cNvCxnSpPr/>
          <p:nvPr/>
        </p:nvCxnSpPr>
        <p:spPr>
          <a:xfrm>
            <a:off x="1193532" y="1737845"/>
            <a:ext cx="996696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44516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</p:sldLayoutIdLst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4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2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0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8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5D1C1C0-D866-4E5D-8571-980DB63D78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655275313"/>
              </p:ext>
            </p:ext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5D1C1C0-D866-4E5D-8571-980DB63D78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0000" y="453197"/>
            <a:ext cx="11472001" cy="95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0000" y="1676400"/>
            <a:ext cx="11472001" cy="444734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 dirty="0"/>
              <a:t>Add bulle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3"/>
          </p:nvPr>
        </p:nvSpPr>
        <p:spPr>
          <a:xfrm>
            <a:off x="2880000" y="6455229"/>
            <a:ext cx="46728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cap="none" spc="20" baseline="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2"/>
          </p:nvPr>
        </p:nvSpPr>
        <p:spPr>
          <a:xfrm>
            <a:off x="0" y="6847200"/>
            <a:ext cx="0" cy="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" cap="all" baseline="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DE1991C-4C42-433F-900F-A82FDEE199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1124" y="6443275"/>
            <a:ext cx="360876" cy="16790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4D833E3B-2778-42F4-9ABB-9F6DE98C7B48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713129A-9916-45C7-854F-6240E4D2EDF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540" y="6412559"/>
            <a:ext cx="1768521" cy="157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62086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hf hdr="0" dt="0"/>
  <p:txStyles>
    <p:titleStyle>
      <a:lvl1pPr algn="l" defTabSz="914446" rtl="0" eaLnBrk="1" latinLnBrk="0" hangingPunct="1">
        <a:lnSpc>
          <a:spcPct val="93000"/>
        </a:lnSpc>
        <a:spcBef>
          <a:spcPct val="0"/>
        </a:spcBef>
        <a:buNone/>
        <a:defRPr sz="3200" kern="1200" cap="none" spc="13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009" indent="-180009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lang="en-GB" sz="2000" kern="1200" spc="7" baseline="0" noProof="0" dirty="0" smtClean="0">
          <a:solidFill>
            <a:schemeClr val="tx2"/>
          </a:solidFill>
          <a:latin typeface="+mn-lt"/>
          <a:ea typeface="+mn-ea"/>
          <a:cs typeface="+mn-cs"/>
        </a:defRPr>
      </a:lvl1pPr>
      <a:lvl2pPr marL="360018" indent="-179397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800" kern="1200" spc="7">
          <a:solidFill>
            <a:schemeClr val="tx2"/>
          </a:solidFill>
          <a:latin typeface="+mn-lt"/>
          <a:ea typeface="+mn-ea"/>
          <a:cs typeface="+mn-cs"/>
        </a:defRPr>
      </a:lvl2pPr>
      <a:lvl3pPr marL="539777" indent="-180009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 kern="1200" spc="7">
          <a:solidFill>
            <a:schemeClr val="tx2"/>
          </a:solidFill>
          <a:latin typeface="+mn-lt"/>
          <a:ea typeface="+mn-ea"/>
          <a:cs typeface="+mn-cs"/>
        </a:defRPr>
      </a:lvl3pPr>
      <a:lvl4pPr marL="720036" indent="-180009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tabLst>
          <a:tab pos="896983" algn="l"/>
        </a:tabLst>
        <a:defRPr sz="1400" kern="1200" spc="7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​"/>
        <a:defRPr lang="en-GB" sz="2000" b="1" kern="1200" cap="none" spc="7" baseline="0" noProof="0" dirty="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​"/>
        <a:defRPr sz="2000" kern="1200" spc="7">
          <a:solidFill>
            <a:schemeClr val="tx2"/>
          </a:solidFill>
          <a:latin typeface="+mn-lt"/>
          <a:ea typeface="+mn-ea"/>
          <a:cs typeface="+mn-cs"/>
        </a:defRPr>
      </a:lvl6pPr>
      <a:lvl7pPr marL="180009" indent="-180009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400" kern="1200" spc="7" baseline="0">
          <a:solidFill>
            <a:schemeClr val="tx2"/>
          </a:solidFill>
          <a:latin typeface="+mn-lt"/>
          <a:ea typeface="+mn-ea"/>
          <a:cs typeface="+mn-cs"/>
        </a:defRPr>
      </a:lvl7pPr>
      <a:lvl8pPr marL="180009" indent="-180009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400" kern="1200" spc="7">
          <a:solidFill>
            <a:schemeClr val="tx2"/>
          </a:solidFill>
          <a:latin typeface="+mn-lt"/>
          <a:ea typeface="+mn-ea"/>
          <a:cs typeface="+mn-cs"/>
        </a:defRPr>
      </a:lvl8pPr>
      <a:lvl9pPr marL="180009" indent="-180009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400" kern="1200" spc="7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5">
          <p15:clr>
            <a:srgbClr val="F26B43"/>
          </p15:clr>
        </p15:guide>
        <p15:guide id="2" orient="horz" pos="1584">
          <p15:clr>
            <a:srgbClr val="F26B43"/>
          </p15:clr>
        </p15:guide>
        <p15:guide id="3" orient="horz" pos="1335">
          <p15:clr>
            <a:srgbClr val="F26B43"/>
          </p15:clr>
        </p15:guide>
        <p15:guide id="4" orient="horz" pos="5787">
          <p15:clr>
            <a:srgbClr val="F26B43"/>
          </p15:clr>
        </p15:guide>
        <p15:guide id="6" pos="11180">
          <p15:clr>
            <a:srgbClr val="F26B43"/>
          </p15:clr>
        </p15:guide>
        <p15:guide id="8" pos="33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5D1C1C0-D866-4E5D-8571-980DB63D78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048535337"/>
              </p:ext>
            </p:ext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5D1C1C0-D866-4E5D-8571-980DB63D78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0000" y="453197"/>
            <a:ext cx="11472001" cy="95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0000" y="1676400"/>
            <a:ext cx="11472001" cy="444734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 dirty="0"/>
              <a:t>Add bulle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3"/>
          </p:nvPr>
        </p:nvSpPr>
        <p:spPr>
          <a:xfrm>
            <a:off x="2880000" y="6455229"/>
            <a:ext cx="46728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cap="none" spc="20" baseline="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2"/>
          </p:nvPr>
        </p:nvSpPr>
        <p:spPr>
          <a:xfrm>
            <a:off x="0" y="6847200"/>
            <a:ext cx="0" cy="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" cap="all" baseline="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DE1991C-4C42-433F-900F-A82FDEE199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1124" y="6443275"/>
            <a:ext cx="360876" cy="16790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4D833E3B-2778-42F4-9ABB-9F6DE98C7B48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713129A-9916-45C7-854F-6240E4D2EDF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540" y="6412559"/>
            <a:ext cx="1768521" cy="157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08072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</p:sldLayoutIdLst>
  <p:hf hdr="0" dt="0"/>
  <p:txStyles>
    <p:titleStyle>
      <a:lvl1pPr algn="l" defTabSz="914446" rtl="0" eaLnBrk="1" latinLnBrk="0" hangingPunct="1">
        <a:lnSpc>
          <a:spcPct val="93000"/>
        </a:lnSpc>
        <a:spcBef>
          <a:spcPct val="0"/>
        </a:spcBef>
        <a:buNone/>
        <a:defRPr sz="3200" kern="1200" cap="none" spc="13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009" indent="-180009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lang="en-GB" sz="2000" kern="1200" spc="7" baseline="0" noProof="0" dirty="0" smtClean="0">
          <a:solidFill>
            <a:schemeClr val="tx2"/>
          </a:solidFill>
          <a:latin typeface="+mn-lt"/>
          <a:ea typeface="+mn-ea"/>
          <a:cs typeface="+mn-cs"/>
        </a:defRPr>
      </a:lvl1pPr>
      <a:lvl2pPr marL="360018" indent="-179397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800" kern="1200" spc="7">
          <a:solidFill>
            <a:schemeClr val="tx2"/>
          </a:solidFill>
          <a:latin typeface="+mn-lt"/>
          <a:ea typeface="+mn-ea"/>
          <a:cs typeface="+mn-cs"/>
        </a:defRPr>
      </a:lvl2pPr>
      <a:lvl3pPr marL="539777" indent="-180009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 kern="1200" spc="7">
          <a:solidFill>
            <a:schemeClr val="tx2"/>
          </a:solidFill>
          <a:latin typeface="+mn-lt"/>
          <a:ea typeface="+mn-ea"/>
          <a:cs typeface="+mn-cs"/>
        </a:defRPr>
      </a:lvl3pPr>
      <a:lvl4pPr marL="720036" indent="-180009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tabLst>
          <a:tab pos="896983" algn="l"/>
        </a:tabLst>
        <a:defRPr sz="1400" kern="1200" spc="7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​"/>
        <a:defRPr lang="en-GB" sz="2000" b="1" kern="1200" cap="none" spc="7" baseline="0" noProof="0" dirty="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​"/>
        <a:defRPr sz="2000" kern="1200" spc="7">
          <a:solidFill>
            <a:schemeClr val="tx2"/>
          </a:solidFill>
          <a:latin typeface="+mn-lt"/>
          <a:ea typeface="+mn-ea"/>
          <a:cs typeface="+mn-cs"/>
        </a:defRPr>
      </a:lvl6pPr>
      <a:lvl7pPr marL="180009" indent="-180009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400" kern="1200" spc="7" baseline="0">
          <a:solidFill>
            <a:schemeClr val="tx2"/>
          </a:solidFill>
          <a:latin typeface="+mn-lt"/>
          <a:ea typeface="+mn-ea"/>
          <a:cs typeface="+mn-cs"/>
        </a:defRPr>
      </a:lvl7pPr>
      <a:lvl8pPr marL="180009" indent="-180009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400" kern="1200" spc="7">
          <a:solidFill>
            <a:schemeClr val="tx2"/>
          </a:solidFill>
          <a:latin typeface="+mn-lt"/>
          <a:ea typeface="+mn-ea"/>
          <a:cs typeface="+mn-cs"/>
        </a:defRPr>
      </a:lvl8pPr>
      <a:lvl9pPr marL="180009" indent="-180009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400" kern="1200" spc="7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5">
          <p15:clr>
            <a:srgbClr val="F26B43"/>
          </p15:clr>
        </p15:guide>
        <p15:guide id="2" orient="horz" pos="1584">
          <p15:clr>
            <a:srgbClr val="F26B43"/>
          </p15:clr>
        </p15:guide>
        <p15:guide id="3" orient="horz" pos="1335">
          <p15:clr>
            <a:srgbClr val="F26B43"/>
          </p15:clr>
        </p15:guide>
        <p15:guide id="4" orient="horz" pos="5787">
          <p15:clr>
            <a:srgbClr val="F26B43"/>
          </p15:clr>
        </p15:guide>
        <p15:guide id="6" pos="11180">
          <p15:clr>
            <a:srgbClr val="F26B43"/>
          </p15:clr>
        </p15:guide>
        <p15:guide id="8" pos="339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5D1C1C0-D866-4E5D-8571-980DB63D78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58303695"/>
              </p:ext>
            </p:ext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5D1C1C0-D866-4E5D-8571-980DB63D78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0000" y="453197"/>
            <a:ext cx="11472001" cy="95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0000" y="1676400"/>
            <a:ext cx="11472001" cy="444734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 dirty="0"/>
              <a:t>Add bulle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3"/>
          </p:nvPr>
        </p:nvSpPr>
        <p:spPr>
          <a:xfrm>
            <a:off x="2880000" y="6455229"/>
            <a:ext cx="46728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cap="none" spc="20" baseline="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2"/>
          </p:nvPr>
        </p:nvSpPr>
        <p:spPr>
          <a:xfrm>
            <a:off x="0" y="6847200"/>
            <a:ext cx="0" cy="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" cap="all" baseline="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DE1991C-4C42-433F-900F-A82FDEE199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1124" y="6443275"/>
            <a:ext cx="360876" cy="16790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4D833E3B-2778-42F4-9ABB-9F6DE98C7B48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713129A-9916-45C7-854F-6240E4D2EDF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540" y="6412559"/>
            <a:ext cx="1768521" cy="157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24821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</p:sldLayoutIdLst>
  <p:hf hdr="0" dt="0"/>
  <p:txStyles>
    <p:titleStyle>
      <a:lvl1pPr algn="l" defTabSz="914446" rtl="0" eaLnBrk="1" latinLnBrk="0" hangingPunct="1">
        <a:lnSpc>
          <a:spcPct val="93000"/>
        </a:lnSpc>
        <a:spcBef>
          <a:spcPct val="0"/>
        </a:spcBef>
        <a:buNone/>
        <a:defRPr sz="3200" kern="1200" cap="none" spc="13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009" indent="-180009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lang="en-GB" sz="2000" kern="1200" spc="7" baseline="0" noProof="0" dirty="0" smtClean="0">
          <a:solidFill>
            <a:schemeClr val="tx2"/>
          </a:solidFill>
          <a:latin typeface="+mn-lt"/>
          <a:ea typeface="+mn-ea"/>
          <a:cs typeface="+mn-cs"/>
        </a:defRPr>
      </a:lvl1pPr>
      <a:lvl2pPr marL="360018" indent="-179397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800" kern="1200" spc="7">
          <a:solidFill>
            <a:schemeClr val="tx2"/>
          </a:solidFill>
          <a:latin typeface="+mn-lt"/>
          <a:ea typeface="+mn-ea"/>
          <a:cs typeface="+mn-cs"/>
        </a:defRPr>
      </a:lvl2pPr>
      <a:lvl3pPr marL="539777" indent="-180009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 kern="1200" spc="7">
          <a:solidFill>
            <a:schemeClr val="tx2"/>
          </a:solidFill>
          <a:latin typeface="+mn-lt"/>
          <a:ea typeface="+mn-ea"/>
          <a:cs typeface="+mn-cs"/>
        </a:defRPr>
      </a:lvl3pPr>
      <a:lvl4pPr marL="720036" indent="-180009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tabLst>
          <a:tab pos="896983" algn="l"/>
        </a:tabLst>
        <a:defRPr sz="1400" kern="1200" spc="7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​"/>
        <a:defRPr lang="en-GB" sz="2000" b="1" kern="1200" cap="none" spc="7" baseline="0" noProof="0" dirty="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​"/>
        <a:defRPr sz="2000" kern="1200" spc="7">
          <a:solidFill>
            <a:schemeClr val="tx2"/>
          </a:solidFill>
          <a:latin typeface="+mn-lt"/>
          <a:ea typeface="+mn-ea"/>
          <a:cs typeface="+mn-cs"/>
        </a:defRPr>
      </a:lvl6pPr>
      <a:lvl7pPr marL="180009" indent="-180009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400" kern="1200" spc="7" baseline="0">
          <a:solidFill>
            <a:schemeClr val="tx2"/>
          </a:solidFill>
          <a:latin typeface="+mn-lt"/>
          <a:ea typeface="+mn-ea"/>
          <a:cs typeface="+mn-cs"/>
        </a:defRPr>
      </a:lvl7pPr>
      <a:lvl8pPr marL="180009" indent="-180009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400" kern="1200" spc="7">
          <a:solidFill>
            <a:schemeClr val="tx2"/>
          </a:solidFill>
          <a:latin typeface="+mn-lt"/>
          <a:ea typeface="+mn-ea"/>
          <a:cs typeface="+mn-cs"/>
        </a:defRPr>
      </a:lvl8pPr>
      <a:lvl9pPr marL="180009" indent="-180009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400" kern="1200" spc="7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5">
          <p15:clr>
            <a:srgbClr val="F26B43"/>
          </p15:clr>
        </p15:guide>
        <p15:guide id="2" orient="horz" pos="1584">
          <p15:clr>
            <a:srgbClr val="F26B43"/>
          </p15:clr>
        </p15:guide>
        <p15:guide id="3" orient="horz" pos="1335">
          <p15:clr>
            <a:srgbClr val="F26B43"/>
          </p15:clr>
        </p15:guide>
        <p15:guide id="4" orient="horz" pos="5787">
          <p15:clr>
            <a:srgbClr val="F26B43"/>
          </p15:clr>
        </p15:guide>
        <p15:guide id="6" pos="11180">
          <p15:clr>
            <a:srgbClr val="F26B43"/>
          </p15:clr>
        </p15:guide>
        <p15:guide id="8" pos="339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5D1C1C0-D866-4E5D-8571-980DB63D78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909640514"/>
              </p:ext>
            </p:ext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5D1C1C0-D866-4E5D-8571-980DB63D78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0000" y="453197"/>
            <a:ext cx="11472001" cy="95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0000" y="1676400"/>
            <a:ext cx="11472001" cy="444734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 dirty="0"/>
              <a:t>Add bulle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3"/>
          </p:nvPr>
        </p:nvSpPr>
        <p:spPr>
          <a:xfrm>
            <a:off x="2880000" y="6455229"/>
            <a:ext cx="46728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cap="none" spc="20" baseline="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2"/>
          </p:nvPr>
        </p:nvSpPr>
        <p:spPr>
          <a:xfrm>
            <a:off x="0" y="6847200"/>
            <a:ext cx="0" cy="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" cap="all" baseline="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DE1991C-4C42-433F-900F-A82FDEE199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1124" y="6443275"/>
            <a:ext cx="360876" cy="16790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4D833E3B-2778-42F4-9ABB-9F6DE98C7B48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713129A-9916-45C7-854F-6240E4D2EDF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540" y="6412559"/>
            <a:ext cx="1768521" cy="157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38236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</p:sldLayoutIdLst>
  <p:hf hdr="0" dt="0"/>
  <p:txStyles>
    <p:titleStyle>
      <a:lvl1pPr algn="l" defTabSz="914446" rtl="0" eaLnBrk="1" latinLnBrk="0" hangingPunct="1">
        <a:lnSpc>
          <a:spcPct val="93000"/>
        </a:lnSpc>
        <a:spcBef>
          <a:spcPct val="0"/>
        </a:spcBef>
        <a:buNone/>
        <a:defRPr sz="3200" kern="1200" cap="none" spc="13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009" indent="-180009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lang="en-GB" sz="2000" kern="1200" spc="7" baseline="0" noProof="0" dirty="0" smtClean="0">
          <a:solidFill>
            <a:schemeClr val="tx2"/>
          </a:solidFill>
          <a:latin typeface="+mn-lt"/>
          <a:ea typeface="+mn-ea"/>
          <a:cs typeface="+mn-cs"/>
        </a:defRPr>
      </a:lvl1pPr>
      <a:lvl2pPr marL="360018" indent="-179397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800" kern="1200" spc="7">
          <a:solidFill>
            <a:schemeClr val="tx2"/>
          </a:solidFill>
          <a:latin typeface="+mn-lt"/>
          <a:ea typeface="+mn-ea"/>
          <a:cs typeface="+mn-cs"/>
        </a:defRPr>
      </a:lvl2pPr>
      <a:lvl3pPr marL="539777" indent="-180009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 kern="1200" spc="7">
          <a:solidFill>
            <a:schemeClr val="tx2"/>
          </a:solidFill>
          <a:latin typeface="+mn-lt"/>
          <a:ea typeface="+mn-ea"/>
          <a:cs typeface="+mn-cs"/>
        </a:defRPr>
      </a:lvl3pPr>
      <a:lvl4pPr marL="720036" indent="-180009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tabLst>
          <a:tab pos="896983" algn="l"/>
        </a:tabLst>
        <a:defRPr sz="1400" kern="1200" spc="7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​"/>
        <a:defRPr lang="en-GB" sz="2000" b="1" kern="1200" cap="none" spc="7" baseline="0" noProof="0" dirty="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​"/>
        <a:defRPr sz="2000" kern="1200" spc="7">
          <a:solidFill>
            <a:schemeClr val="tx2"/>
          </a:solidFill>
          <a:latin typeface="+mn-lt"/>
          <a:ea typeface="+mn-ea"/>
          <a:cs typeface="+mn-cs"/>
        </a:defRPr>
      </a:lvl6pPr>
      <a:lvl7pPr marL="180009" indent="-180009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400" kern="1200" spc="7" baseline="0">
          <a:solidFill>
            <a:schemeClr val="tx2"/>
          </a:solidFill>
          <a:latin typeface="+mn-lt"/>
          <a:ea typeface="+mn-ea"/>
          <a:cs typeface="+mn-cs"/>
        </a:defRPr>
      </a:lvl7pPr>
      <a:lvl8pPr marL="180009" indent="-180009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400" kern="1200" spc="7">
          <a:solidFill>
            <a:schemeClr val="tx2"/>
          </a:solidFill>
          <a:latin typeface="+mn-lt"/>
          <a:ea typeface="+mn-ea"/>
          <a:cs typeface="+mn-cs"/>
        </a:defRPr>
      </a:lvl8pPr>
      <a:lvl9pPr marL="180009" indent="-180009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400" kern="1200" spc="7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5">
          <p15:clr>
            <a:srgbClr val="F26B43"/>
          </p15:clr>
        </p15:guide>
        <p15:guide id="2" orient="horz" pos="1584">
          <p15:clr>
            <a:srgbClr val="F26B43"/>
          </p15:clr>
        </p15:guide>
        <p15:guide id="3" orient="horz" pos="1335">
          <p15:clr>
            <a:srgbClr val="F26B43"/>
          </p15:clr>
        </p15:guide>
        <p15:guide id="4" orient="horz" pos="5787">
          <p15:clr>
            <a:srgbClr val="F26B43"/>
          </p15:clr>
        </p15:guide>
        <p15:guide id="6" pos="11180">
          <p15:clr>
            <a:srgbClr val="F26B43"/>
          </p15:clr>
        </p15:guide>
        <p15:guide id="8" pos="339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5D1C1C0-D866-4E5D-8571-980DB63D78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94727559"/>
              </p:ext>
            </p:ext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5D1C1C0-D866-4E5D-8571-980DB63D78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0000" y="453197"/>
            <a:ext cx="11472001" cy="95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0000" y="1676400"/>
            <a:ext cx="11472001" cy="444734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 dirty="0"/>
              <a:t>Add bulle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3"/>
          </p:nvPr>
        </p:nvSpPr>
        <p:spPr>
          <a:xfrm>
            <a:off x="2880000" y="6455229"/>
            <a:ext cx="46728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cap="none" spc="20" baseline="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2"/>
          </p:nvPr>
        </p:nvSpPr>
        <p:spPr>
          <a:xfrm>
            <a:off x="0" y="6847200"/>
            <a:ext cx="0" cy="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" cap="all" baseline="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DE1991C-4C42-433F-900F-A82FDEE199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1124" y="6443275"/>
            <a:ext cx="360876" cy="16790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4D833E3B-2778-42F4-9ABB-9F6DE98C7B48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713129A-9916-45C7-854F-6240E4D2EDF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540" y="6412559"/>
            <a:ext cx="1768521" cy="157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62776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</p:sldLayoutIdLst>
  <p:hf hdr="0" dt="0"/>
  <p:txStyles>
    <p:titleStyle>
      <a:lvl1pPr algn="l" defTabSz="914446" rtl="0" eaLnBrk="1" latinLnBrk="0" hangingPunct="1">
        <a:lnSpc>
          <a:spcPct val="93000"/>
        </a:lnSpc>
        <a:spcBef>
          <a:spcPct val="0"/>
        </a:spcBef>
        <a:buNone/>
        <a:defRPr sz="3200" kern="1200" cap="none" spc="13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009" indent="-180009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lang="en-GB" sz="2000" kern="1200" spc="7" baseline="0" noProof="0" dirty="0" smtClean="0">
          <a:solidFill>
            <a:schemeClr val="tx2"/>
          </a:solidFill>
          <a:latin typeface="+mn-lt"/>
          <a:ea typeface="+mn-ea"/>
          <a:cs typeface="+mn-cs"/>
        </a:defRPr>
      </a:lvl1pPr>
      <a:lvl2pPr marL="360018" indent="-179397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800" kern="1200" spc="7">
          <a:solidFill>
            <a:schemeClr val="tx2"/>
          </a:solidFill>
          <a:latin typeface="+mn-lt"/>
          <a:ea typeface="+mn-ea"/>
          <a:cs typeface="+mn-cs"/>
        </a:defRPr>
      </a:lvl2pPr>
      <a:lvl3pPr marL="539777" indent="-180009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 kern="1200" spc="7">
          <a:solidFill>
            <a:schemeClr val="tx2"/>
          </a:solidFill>
          <a:latin typeface="+mn-lt"/>
          <a:ea typeface="+mn-ea"/>
          <a:cs typeface="+mn-cs"/>
        </a:defRPr>
      </a:lvl3pPr>
      <a:lvl4pPr marL="720036" indent="-180009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tabLst>
          <a:tab pos="896983" algn="l"/>
        </a:tabLst>
        <a:defRPr sz="1400" kern="1200" spc="7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​"/>
        <a:defRPr lang="en-GB" sz="2000" b="1" kern="1200" cap="none" spc="7" baseline="0" noProof="0" dirty="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​"/>
        <a:defRPr sz="2000" kern="1200" spc="7">
          <a:solidFill>
            <a:schemeClr val="tx2"/>
          </a:solidFill>
          <a:latin typeface="+mn-lt"/>
          <a:ea typeface="+mn-ea"/>
          <a:cs typeface="+mn-cs"/>
        </a:defRPr>
      </a:lvl6pPr>
      <a:lvl7pPr marL="180009" indent="-180009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400" kern="1200" spc="7" baseline="0">
          <a:solidFill>
            <a:schemeClr val="tx2"/>
          </a:solidFill>
          <a:latin typeface="+mn-lt"/>
          <a:ea typeface="+mn-ea"/>
          <a:cs typeface="+mn-cs"/>
        </a:defRPr>
      </a:lvl7pPr>
      <a:lvl8pPr marL="180009" indent="-180009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400" kern="1200" spc="7">
          <a:solidFill>
            <a:schemeClr val="tx2"/>
          </a:solidFill>
          <a:latin typeface="+mn-lt"/>
          <a:ea typeface="+mn-ea"/>
          <a:cs typeface="+mn-cs"/>
        </a:defRPr>
      </a:lvl8pPr>
      <a:lvl9pPr marL="180009" indent="-180009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400" kern="1200" spc="7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5">
          <p15:clr>
            <a:srgbClr val="F26B43"/>
          </p15:clr>
        </p15:guide>
        <p15:guide id="2" orient="horz" pos="1584">
          <p15:clr>
            <a:srgbClr val="F26B43"/>
          </p15:clr>
        </p15:guide>
        <p15:guide id="3" orient="horz" pos="1335">
          <p15:clr>
            <a:srgbClr val="F26B43"/>
          </p15:clr>
        </p15:guide>
        <p15:guide id="4" orient="horz" pos="5787">
          <p15:clr>
            <a:srgbClr val="F26B43"/>
          </p15:clr>
        </p15:guide>
        <p15:guide id="6" pos="11180">
          <p15:clr>
            <a:srgbClr val="F26B43"/>
          </p15:clr>
        </p15:guide>
        <p15:guide id="8" pos="339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5D1C1C0-D866-4E5D-8571-980DB63D78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870550433"/>
              </p:ext>
            </p:ext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5D1C1C0-D866-4E5D-8571-980DB63D78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0000" y="453197"/>
            <a:ext cx="11472001" cy="95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0000" y="1676400"/>
            <a:ext cx="11472001" cy="444734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 dirty="0"/>
              <a:t>Add bulle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3"/>
          </p:nvPr>
        </p:nvSpPr>
        <p:spPr>
          <a:xfrm>
            <a:off x="2880000" y="6455229"/>
            <a:ext cx="46728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cap="none" spc="20" baseline="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2"/>
          </p:nvPr>
        </p:nvSpPr>
        <p:spPr>
          <a:xfrm>
            <a:off x="0" y="6847200"/>
            <a:ext cx="0" cy="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" cap="all" baseline="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DE1991C-4C42-433F-900F-A82FDEE199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1124" y="6443275"/>
            <a:ext cx="360876" cy="16790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4D833E3B-2778-42F4-9ABB-9F6DE98C7B48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713129A-9916-45C7-854F-6240E4D2EDF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540" y="6412559"/>
            <a:ext cx="1768521" cy="157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08110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</p:sldLayoutIdLst>
  <p:hf hdr="0" dt="0"/>
  <p:txStyles>
    <p:titleStyle>
      <a:lvl1pPr algn="l" defTabSz="914446" rtl="0" eaLnBrk="1" latinLnBrk="0" hangingPunct="1">
        <a:lnSpc>
          <a:spcPct val="93000"/>
        </a:lnSpc>
        <a:spcBef>
          <a:spcPct val="0"/>
        </a:spcBef>
        <a:buNone/>
        <a:defRPr sz="3200" kern="1200" cap="none" spc="13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009" indent="-180009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lang="en-GB" sz="2000" kern="1200" spc="7" baseline="0" noProof="0" dirty="0" smtClean="0">
          <a:solidFill>
            <a:schemeClr val="tx2"/>
          </a:solidFill>
          <a:latin typeface="+mn-lt"/>
          <a:ea typeface="+mn-ea"/>
          <a:cs typeface="+mn-cs"/>
        </a:defRPr>
      </a:lvl1pPr>
      <a:lvl2pPr marL="360018" indent="-179397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800" kern="1200" spc="7">
          <a:solidFill>
            <a:schemeClr val="tx2"/>
          </a:solidFill>
          <a:latin typeface="+mn-lt"/>
          <a:ea typeface="+mn-ea"/>
          <a:cs typeface="+mn-cs"/>
        </a:defRPr>
      </a:lvl2pPr>
      <a:lvl3pPr marL="539777" indent="-180009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 kern="1200" spc="7">
          <a:solidFill>
            <a:schemeClr val="tx2"/>
          </a:solidFill>
          <a:latin typeface="+mn-lt"/>
          <a:ea typeface="+mn-ea"/>
          <a:cs typeface="+mn-cs"/>
        </a:defRPr>
      </a:lvl3pPr>
      <a:lvl4pPr marL="720036" indent="-180009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tabLst>
          <a:tab pos="896983" algn="l"/>
        </a:tabLst>
        <a:defRPr sz="1400" kern="1200" spc="7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​"/>
        <a:defRPr lang="en-GB" sz="2000" b="1" kern="1200" cap="none" spc="7" baseline="0" noProof="0" dirty="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​"/>
        <a:defRPr sz="2000" kern="1200" spc="7">
          <a:solidFill>
            <a:schemeClr val="tx2"/>
          </a:solidFill>
          <a:latin typeface="+mn-lt"/>
          <a:ea typeface="+mn-ea"/>
          <a:cs typeface="+mn-cs"/>
        </a:defRPr>
      </a:lvl6pPr>
      <a:lvl7pPr marL="180009" indent="-180009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400" kern="1200" spc="7" baseline="0">
          <a:solidFill>
            <a:schemeClr val="tx2"/>
          </a:solidFill>
          <a:latin typeface="+mn-lt"/>
          <a:ea typeface="+mn-ea"/>
          <a:cs typeface="+mn-cs"/>
        </a:defRPr>
      </a:lvl7pPr>
      <a:lvl8pPr marL="180009" indent="-180009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400" kern="1200" spc="7">
          <a:solidFill>
            <a:schemeClr val="tx2"/>
          </a:solidFill>
          <a:latin typeface="+mn-lt"/>
          <a:ea typeface="+mn-ea"/>
          <a:cs typeface="+mn-cs"/>
        </a:defRPr>
      </a:lvl8pPr>
      <a:lvl9pPr marL="180009" indent="-180009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400" kern="1200" spc="7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5">
          <p15:clr>
            <a:srgbClr val="F26B43"/>
          </p15:clr>
        </p15:guide>
        <p15:guide id="2" orient="horz" pos="1584">
          <p15:clr>
            <a:srgbClr val="F26B43"/>
          </p15:clr>
        </p15:guide>
        <p15:guide id="3" orient="horz" pos="1335">
          <p15:clr>
            <a:srgbClr val="F26B43"/>
          </p15:clr>
        </p15:guide>
        <p15:guide id="4" orient="horz" pos="5787">
          <p15:clr>
            <a:srgbClr val="F26B43"/>
          </p15:clr>
        </p15:guide>
        <p15:guide id="6" pos="11180">
          <p15:clr>
            <a:srgbClr val="F26B43"/>
          </p15:clr>
        </p15:guide>
        <p15:guide id="8" pos="339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5D1C1C0-D866-4E5D-8571-980DB63D78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58701387"/>
              </p:ext>
            </p:ext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5D1C1C0-D866-4E5D-8571-980DB63D78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0000" y="453197"/>
            <a:ext cx="11472001" cy="95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0000" y="1676400"/>
            <a:ext cx="11472001" cy="444734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 dirty="0"/>
              <a:t>Add bulle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3"/>
          </p:nvPr>
        </p:nvSpPr>
        <p:spPr>
          <a:xfrm>
            <a:off x="2880000" y="6455229"/>
            <a:ext cx="46728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cap="none" spc="20" baseline="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2"/>
          </p:nvPr>
        </p:nvSpPr>
        <p:spPr>
          <a:xfrm>
            <a:off x="0" y="6847200"/>
            <a:ext cx="0" cy="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" cap="all" baseline="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DE1991C-4C42-433F-900F-A82FDEE199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1124" y="6443275"/>
            <a:ext cx="360876" cy="16790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4D833E3B-2778-42F4-9ABB-9F6DE98C7B48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713129A-9916-45C7-854F-6240E4D2EDF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540" y="6412559"/>
            <a:ext cx="1768521" cy="157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65125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</p:sldLayoutIdLst>
  <p:hf hdr="0" dt="0"/>
  <p:txStyles>
    <p:titleStyle>
      <a:lvl1pPr algn="l" defTabSz="914446" rtl="0" eaLnBrk="1" latinLnBrk="0" hangingPunct="1">
        <a:lnSpc>
          <a:spcPct val="93000"/>
        </a:lnSpc>
        <a:spcBef>
          <a:spcPct val="0"/>
        </a:spcBef>
        <a:buNone/>
        <a:defRPr sz="3200" kern="1200" cap="none" spc="13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009" indent="-180009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lang="en-GB" sz="2000" kern="1200" spc="7" baseline="0" noProof="0" dirty="0" smtClean="0">
          <a:solidFill>
            <a:schemeClr val="tx2"/>
          </a:solidFill>
          <a:latin typeface="+mn-lt"/>
          <a:ea typeface="+mn-ea"/>
          <a:cs typeface="+mn-cs"/>
        </a:defRPr>
      </a:lvl1pPr>
      <a:lvl2pPr marL="360018" indent="-179397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800" kern="1200" spc="7">
          <a:solidFill>
            <a:schemeClr val="tx2"/>
          </a:solidFill>
          <a:latin typeface="+mn-lt"/>
          <a:ea typeface="+mn-ea"/>
          <a:cs typeface="+mn-cs"/>
        </a:defRPr>
      </a:lvl2pPr>
      <a:lvl3pPr marL="539777" indent="-180009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 kern="1200" spc="7">
          <a:solidFill>
            <a:schemeClr val="tx2"/>
          </a:solidFill>
          <a:latin typeface="+mn-lt"/>
          <a:ea typeface="+mn-ea"/>
          <a:cs typeface="+mn-cs"/>
        </a:defRPr>
      </a:lvl3pPr>
      <a:lvl4pPr marL="720036" indent="-180009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tabLst>
          <a:tab pos="896983" algn="l"/>
        </a:tabLst>
        <a:defRPr sz="1400" kern="1200" spc="7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​"/>
        <a:defRPr lang="en-GB" sz="2000" b="1" kern="1200" cap="none" spc="7" baseline="0" noProof="0" dirty="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​"/>
        <a:defRPr sz="2000" kern="1200" spc="7">
          <a:solidFill>
            <a:schemeClr val="tx2"/>
          </a:solidFill>
          <a:latin typeface="+mn-lt"/>
          <a:ea typeface="+mn-ea"/>
          <a:cs typeface="+mn-cs"/>
        </a:defRPr>
      </a:lvl6pPr>
      <a:lvl7pPr marL="180009" indent="-180009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400" kern="1200" spc="7" baseline="0">
          <a:solidFill>
            <a:schemeClr val="tx2"/>
          </a:solidFill>
          <a:latin typeface="+mn-lt"/>
          <a:ea typeface="+mn-ea"/>
          <a:cs typeface="+mn-cs"/>
        </a:defRPr>
      </a:lvl7pPr>
      <a:lvl8pPr marL="180009" indent="-180009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400" kern="1200" spc="7">
          <a:solidFill>
            <a:schemeClr val="tx2"/>
          </a:solidFill>
          <a:latin typeface="+mn-lt"/>
          <a:ea typeface="+mn-ea"/>
          <a:cs typeface="+mn-cs"/>
        </a:defRPr>
      </a:lvl8pPr>
      <a:lvl9pPr marL="180009" indent="-180009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400" kern="1200" spc="7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5">
          <p15:clr>
            <a:srgbClr val="F26B43"/>
          </p15:clr>
        </p15:guide>
        <p15:guide id="2" orient="horz" pos="1584">
          <p15:clr>
            <a:srgbClr val="F26B43"/>
          </p15:clr>
        </p15:guide>
        <p15:guide id="3" orient="horz" pos="1335">
          <p15:clr>
            <a:srgbClr val="F26B43"/>
          </p15:clr>
        </p15:guide>
        <p15:guide id="4" orient="horz" pos="5787">
          <p15:clr>
            <a:srgbClr val="F26B43"/>
          </p15:clr>
        </p15:guide>
        <p15:guide id="6" pos="11180">
          <p15:clr>
            <a:srgbClr val="F26B43"/>
          </p15:clr>
        </p15:guide>
        <p15:guide id="8" pos="339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5D1C1C0-D866-4E5D-8571-980DB63D78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34089818"/>
              </p:ext>
            </p:ext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3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5D1C1C0-D866-4E5D-8571-980DB63D78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0000" y="453197"/>
            <a:ext cx="11472001" cy="95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0000" y="1676400"/>
            <a:ext cx="11472001" cy="444734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 dirty="0"/>
              <a:t>Add bulle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3"/>
          </p:nvPr>
        </p:nvSpPr>
        <p:spPr>
          <a:xfrm>
            <a:off x="2880000" y="6455229"/>
            <a:ext cx="46728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cap="none" spc="20" baseline="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2"/>
          </p:nvPr>
        </p:nvSpPr>
        <p:spPr>
          <a:xfrm>
            <a:off x="0" y="6847200"/>
            <a:ext cx="0" cy="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" cap="all" baseline="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DE1991C-4C42-433F-900F-A82FDEE199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1124" y="6443275"/>
            <a:ext cx="360876" cy="16790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4D833E3B-2778-42F4-9ABB-9F6DE98C7B48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713129A-9916-45C7-854F-6240E4D2EDF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540" y="6412559"/>
            <a:ext cx="1768521" cy="157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90191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</p:sldLayoutIdLst>
  <p:hf hdr="0" dt="0"/>
  <p:txStyles>
    <p:titleStyle>
      <a:lvl1pPr algn="l" defTabSz="914446" rtl="0" eaLnBrk="1" latinLnBrk="0" hangingPunct="1">
        <a:lnSpc>
          <a:spcPct val="93000"/>
        </a:lnSpc>
        <a:spcBef>
          <a:spcPct val="0"/>
        </a:spcBef>
        <a:buNone/>
        <a:defRPr sz="3200" kern="1200" cap="none" spc="13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009" indent="-180009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lang="en-GB" sz="2000" kern="1200" spc="7" baseline="0" noProof="0" dirty="0" smtClean="0">
          <a:solidFill>
            <a:schemeClr val="tx2"/>
          </a:solidFill>
          <a:latin typeface="+mn-lt"/>
          <a:ea typeface="+mn-ea"/>
          <a:cs typeface="+mn-cs"/>
        </a:defRPr>
      </a:lvl1pPr>
      <a:lvl2pPr marL="360018" indent="-179397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800" kern="1200" spc="7">
          <a:solidFill>
            <a:schemeClr val="tx2"/>
          </a:solidFill>
          <a:latin typeface="+mn-lt"/>
          <a:ea typeface="+mn-ea"/>
          <a:cs typeface="+mn-cs"/>
        </a:defRPr>
      </a:lvl2pPr>
      <a:lvl3pPr marL="539777" indent="-180009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 kern="1200" spc="7">
          <a:solidFill>
            <a:schemeClr val="tx2"/>
          </a:solidFill>
          <a:latin typeface="+mn-lt"/>
          <a:ea typeface="+mn-ea"/>
          <a:cs typeface="+mn-cs"/>
        </a:defRPr>
      </a:lvl3pPr>
      <a:lvl4pPr marL="720036" indent="-180009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tabLst>
          <a:tab pos="896983" algn="l"/>
        </a:tabLst>
        <a:defRPr sz="1400" kern="1200" spc="7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​"/>
        <a:defRPr lang="en-GB" sz="2000" b="1" kern="1200" cap="none" spc="7" baseline="0" noProof="0" dirty="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​"/>
        <a:defRPr sz="2000" kern="1200" spc="7">
          <a:solidFill>
            <a:schemeClr val="tx2"/>
          </a:solidFill>
          <a:latin typeface="+mn-lt"/>
          <a:ea typeface="+mn-ea"/>
          <a:cs typeface="+mn-cs"/>
        </a:defRPr>
      </a:lvl6pPr>
      <a:lvl7pPr marL="180009" indent="-180009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400" kern="1200" spc="7" baseline="0">
          <a:solidFill>
            <a:schemeClr val="tx2"/>
          </a:solidFill>
          <a:latin typeface="+mn-lt"/>
          <a:ea typeface="+mn-ea"/>
          <a:cs typeface="+mn-cs"/>
        </a:defRPr>
      </a:lvl7pPr>
      <a:lvl8pPr marL="180009" indent="-180009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400" kern="1200" spc="7">
          <a:solidFill>
            <a:schemeClr val="tx2"/>
          </a:solidFill>
          <a:latin typeface="+mn-lt"/>
          <a:ea typeface="+mn-ea"/>
          <a:cs typeface="+mn-cs"/>
        </a:defRPr>
      </a:lvl8pPr>
      <a:lvl9pPr marL="180009" indent="-180009" algn="l" defTabSz="914446" rtl="0" eaLnBrk="1" latinLnBrk="0" hangingPunct="1">
        <a:lnSpc>
          <a:spcPct val="107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400" kern="1200" spc="7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5">
          <p15:clr>
            <a:srgbClr val="F26B43"/>
          </p15:clr>
        </p15:guide>
        <p15:guide id="2" orient="horz" pos="1584">
          <p15:clr>
            <a:srgbClr val="F26B43"/>
          </p15:clr>
        </p15:guide>
        <p15:guide id="3" orient="horz" pos="1335">
          <p15:clr>
            <a:srgbClr val="F26B43"/>
          </p15:clr>
        </p15:guide>
        <p15:guide id="4" orient="horz" pos="5787">
          <p15:clr>
            <a:srgbClr val="F26B43"/>
          </p15:clr>
        </p15:guide>
        <p15:guide id="6" pos="11180">
          <p15:clr>
            <a:srgbClr val="F26B43"/>
          </p15:clr>
        </p15:guide>
        <p15:guide id="8" pos="3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59.jpeg"/><Relationship Id="rId2" Type="http://schemas.openxmlformats.org/officeDocument/2006/relationships/tags" Target="../tags/tag29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50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60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jfif"/><Relationship Id="rId3" Type="http://schemas.openxmlformats.org/officeDocument/2006/relationships/tags" Target="../tags/tag31.xml"/><Relationship Id="rId7" Type="http://schemas.openxmlformats.org/officeDocument/2006/relationships/image" Target="../media/image50.emf"/><Relationship Id="rId2" Type="http://schemas.openxmlformats.org/officeDocument/2006/relationships/tags" Target="../tags/tag30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jpg"/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62.emf"/><Relationship Id="rId2" Type="http://schemas.openxmlformats.org/officeDocument/2006/relationships/tags" Target="../tags/tag32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2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g"/><Relationship Id="rId2" Type="http://schemas.openxmlformats.org/officeDocument/2006/relationships/image" Target="../media/image66.emf"/><Relationship Id="rId1" Type="http://schemas.openxmlformats.org/officeDocument/2006/relationships/slideLayout" Target="../slideLayouts/slideLayout2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g"/><Relationship Id="rId2" Type="http://schemas.openxmlformats.org/officeDocument/2006/relationships/image" Target="../media/image68.jp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72.jpeg"/><Relationship Id="rId5" Type="http://schemas.openxmlformats.org/officeDocument/2006/relationships/image" Target="../media/image71.jpeg"/><Relationship Id="rId4" Type="http://schemas.openxmlformats.org/officeDocument/2006/relationships/image" Target="../media/image70.jp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jpeg"/><Relationship Id="rId2" Type="http://schemas.openxmlformats.org/officeDocument/2006/relationships/image" Target="../media/image70.jpg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72.jpe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jpeg"/><Relationship Id="rId1" Type="http://schemas.openxmlformats.org/officeDocument/2006/relationships/slideLayout" Target="../slideLayouts/slideLayout2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5.jpeg"/><Relationship Id="rId1" Type="http://schemas.openxmlformats.org/officeDocument/2006/relationships/slideLayout" Target="../slideLayouts/slideLayout2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2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jpeg"/><Relationship Id="rId1" Type="http://schemas.openxmlformats.org/officeDocument/2006/relationships/slideLayout" Target="../slideLayouts/slideLayout2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jpeg"/><Relationship Id="rId1" Type="http://schemas.openxmlformats.org/officeDocument/2006/relationships/slideLayout" Target="../slideLayouts/slideLayout2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tz-ost.at/kontakt/" TargetMode="External"/><Relationship Id="rId2" Type="http://schemas.openxmlformats.org/officeDocument/2006/relationships/hyperlink" Target="https://www.wtz-ost.at/schwerpunkte/innovationmatters/" TargetMode="External"/><Relationship Id="rId1" Type="http://schemas.openxmlformats.org/officeDocument/2006/relationships/slideLayout" Target="../slideLayouts/slideLayout23.xml"/><Relationship Id="rId4" Type="http://schemas.openxmlformats.org/officeDocument/2006/relationships/hyperlink" Target="https://www.unica-network.eu/activity/working-groups/unica-the-city/" TargetMode="Externa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1.emf"/><Relationship Id="rId2" Type="http://schemas.openxmlformats.org/officeDocument/2006/relationships/tags" Target="../tags/tag21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24.xml"/><Relationship Id="rId7" Type="http://schemas.openxmlformats.org/officeDocument/2006/relationships/image" Target="../media/image10.emf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13.sv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20.png"/><Relationship Id="rId18" Type="http://schemas.openxmlformats.org/officeDocument/2006/relationships/image" Target="../media/image25.svg"/><Relationship Id="rId3" Type="http://schemas.openxmlformats.org/officeDocument/2006/relationships/slideLayout" Target="../slideLayouts/slideLayout14.xml"/><Relationship Id="rId21" Type="http://schemas.openxmlformats.org/officeDocument/2006/relationships/image" Target="../media/image28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17" Type="http://schemas.openxmlformats.org/officeDocument/2006/relationships/image" Target="../media/image24.png"/><Relationship Id="rId2" Type="http://schemas.openxmlformats.org/officeDocument/2006/relationships/tags" Target="../tags/tag25.xml"/><Relationship Id="rId16" Type="http://schemas.openxmlformats.org/officeDocument/2006/relationships/image" Target="../media/image23.svg"/><Relationship Id="rId20" Type="http://schemas.openxmlformats.org/officeDocument/2006/relationships/image" Target="../media/image27.svg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0.emf"/><Relationship Id="rId11" Type="http://schemas.openxmlformats.org/officeDocument/2006/relationships/image" Target="../media/image18.png"/><Relationship Id="rId5" Type="http://schemas.openxmlformats.org/officeDocument/2006/relationships/oleObject" Target="../embeddings/oleObject9.bin"/><Relationship Id="rId15" Type="http://schemas.openxmlformats.org/officeDocument/2006/relationships/image" Target="../media/image22.png"/><Relationship Id="rId10" Type="http://schemas.openxmlformats.org/officeDocument/2006/relationships/image" Target="../media/image17.svg"/><Relationship Id="rId19" Type="http://schemas.openxmlformats.org/officeDocument/2006/relationships/image" Target="../media/image26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6.png"/><Relationship Id="rId14" Type="http://schemas.openxmlformats.org/officeDocument/2006/relationships/image" Target="../media/image21.svg"/><Relationship Id="rId22" Type="http://schemas.openxmlformats.org/officeDocument/2006/relationships/image" Target="../media/image29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7.svg"/><Relationship Id="rId18" Type="http://schemas.openxmlformats.org/officeDocument/2006/relationships/image" Target="../media/image42.png"/><Relationship Id="rId3" Type="http://schemas.openxmlformats.org/officeDocument/2006/relationships/slideLayout" Target="../slideLayouts/slideLayout15.xml"/><Relationship Id="rId21" Type="http://schemas.openxmlformats.org/officeDocument/2006/relationships/image" Target="../media/image45.svg"/><Relationship Id="rId7" Type="http://schemas.openxmlformats.org/officeDocument/2006/relationships/image" Target="../media/image31.png"/><Relationship Id="rId12" Type="http://schemas.openxmlformats.org/officeDocument/2006/relationships/image" Target="../media/image36.png"/><Relationship Id="rId17" Type="http://schemas.openxmlformats.org/officeDocument/2006/relationships/image" Target="../media/image41.svg"/><Relationship Id="rId25" Type="http://schemas.openxmlformats.org/officeDocument/2006/relationships/image" Target="../media/image49.svg"/><Relationship Id="rId2" Type="http://schemas.openxmlformats.org/officeDocument/2006/relationships/tags" Target="../tags/tag26.xml"/><Relationship Id="rId16" Type="http://schemas.openxmlformats.org/officeDocument/2006/relationships/image" Target="../media/image40.png"/><Relationship Id="rId20" Type="http://schemas.openxmlformats.org/officeDocument/2006/relationships/image" Target="../media/image44.png"/><Relationship Id="rId1" Type="http://schemas.openxmlformats.org/officeDocument/2006/relationships/vmlDrawing" Target="../drawings/vmlDrawing24.vml"/><Relationship Id="rId6" Type="http://schemas.openxmlformats.org/officeDocument/2006/relationships/image" Target="../media/image30.emf"/><Relationship Id="rId11" Type="http://schemas.openxmlformats.org/officeDocument/2006/relationships/image" Target="../media/image35.svg"/><Relationship Id="rId24" Type="http://schemas.openxmlformats.org/officeDocument/2006/relationships/image" Target="../media/image48.png"/><Relationship Id="rId5" Type="http://schemas.openxmlformats.org/officeDocument/2006/relationships/oleObject" Target="../embeddings/oleObject10.bin"/><Relationship Id="rId15" Type="http://schemas.openxmlformats.org/officeDocument/2006/relationships/image" Target="../media/image39.svg"/><Relationship Id="rId23" Type="http://schemas.openxmlformats.org/officeDocument/2006/relationships/image" Target="../media/image47.svg"/><Relationship Id="rId10" Type="http://schemas.openxmlformats.org/officeDocument/2006/relationships/image" Target="../media/image34.png"/><Relationship Id="rId19" Type="http://schemas.openxmlformats.org/officeDocument/2006/relationships/image" Target="../media/image43.sv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33.png"/><Relationship Id="rId14" Type="http://schemas.openxmlformats.org/officeDocument/2006/relationships/image" Target="../media/image38.png"/><Relationship Id="rId22" Type="http://schemas.openxmlformats.org/officeDocument/2006/relationships/image" Target="../media/image4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svg"/><Relationship Id="rId13" Type="http://schemas.openxmlformats.org/officeDocument/2006/relationships/image" Target="../media/image57.png"/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51.png"/><Relationship Id="rId12" Type="http://schemas.openxmlformats.org/officeDocument/2006/relationships/image" Target="../media/image56.svg"/><Relationship Id="rId2" Type="http://schemas.openxmlformats.org/officeDocument/2006/relationships/tags" Target="../tags/tag27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50.emf"/><Relationship Id="rId11" Type="http://schemas.openxmlformats.org/officeDocument/2006/relationships/image" Target="../media/image55.png"/><Relationship Id="rId5" Type="http://schemas.openxmlformats.org/officeDocument/2006/relationships/oleObject" Target="../embeddings/oleObject11.bin"/><Relationship Id="rId10" Type="http://schemas.openxmlformats.org/officeDocument/2006/relationships/image" Target="../media/image54.sv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53.png"/><Relationship Id="rId14" Type="http://schemas.openxmlformats.org/officeDocument/2006/relationships/image" Target="../media/image58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30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fbeelding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509" b="74431"/>
          <a:stretch/>
        </p:blipFill>
        <p:spPr>
          <a:xfrm>
            <a:off x="0" y="-240"/>
            <a:ext cx="6261463" cy="1272359"/>
          </a:xfrm>
          <a:prstGeom prst="rect">
            <a:avLst/>
          </a:prstGeom>
        </p:spPr>
      </p:pic>
      <p:sp>
        <p:nvSpPr>
          <p:cNvPr id="5" name="Rechthoek 4"/>
          <p:cNvSpPr/>
          <p:nvPr/>
        </p:nvSpPr>
        <p:spPr>
          <a:xfrm>
            <a:off x="6113417" y="-242"/>
            <a:ext cx="6113883" cy="1541660"/>
          </a:xfrm>
          <a:prstGeom prst="rect">
            <a:avLst/>
          </a:prstGeom>
          <a:solidFill>
            <a:srgbClr val="F7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kstvak 6"/>
          <p:cNvSpPr txBox="1"/>
          <p:nvPr/>
        </p:nvSpPr>
        <p:spPr>
          <a:xfrm>
            <a:off x="0" y="1250954"/>
            <a:ext cx="12227300" cy="580928"/>
          </a:xfrm>
          <a:prstGeom prst="rect">
            <a:avLst/>
          </a:prstGeom>
          <a:solidFill>
            <a:srgbClr val="820000"/>
          </a:solidFill>
          <a:ln w="76200"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aramond" panose="02020404030301010803" pitchFamily="18" charset="0"/>
              <a:ea typeface="+mn-ea"/>
              <a:cs typeface="+mn-cs"/>
            </a:endParaRPr>
          </a:p>
        </p:txBody>
      </p:sp>
      <p:sp>
        <p:nvSpPr>
          <p:cNvPr id="8" name="Rechthoek 7"/>
          <p:cNvSpPr/>
          <p:nvPr/>
        </p:nvSpPr>
        <p:spPr>
          <a:xfrm>
            <a:off x="0" y="6762201"/>
            <a:ext cx="12192000" cy="104508"/>
          </a:xfrm>
          <a:prstGeom prst="rect">
            <a:avLst/>
          </a:prstGeom>
          <a:solidFill>
            <a:srgbClr val="820000"/>
          </a:solidFill>
          <a:ln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8" name="Afbeelding 1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3588" y="5596524"/>
            <a:ext cx="3979657" cy="869664"/>
          </a:xfrm>
          <a:prstGeom prst="rect">
            <a:avLst/>
          </a:prstGeom>
        </p:spPr>
      </p:pic>
      <p:sp>
        <p:nvSpPr>
          <p:cNvPr id="19" name="Tekstvak 18"/>
          <p:cNvSpPr txBox="1"/>
          <p:nvPr/>
        </p:nvSpPr>
        <p:spPr>
          <a:xfrm>
            <a:off x="0" y="1777818"/>
            <a:ext cx="12192001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2000" b="0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</a:prstClr>
              </a:solidFill>
              <a:effectLst/>
              <a:uLnTx/>
              <a:uFillTx/>
              <a:latin typeface="Garamond" panose="02020404030301010803" pitchFamily="18" charset="0"/>
              <a:ea typeface="+mn-ea"/>
              <a:cs typeface="+mn-cs"/>
            </a:endParaRPr>
          </a:p>
          <a:p>
            <a:pPr lvl="0" algn="ctr"/>
            <a:r>
              <a:rPr kumimoji="0" lang="nl-NL" sz="36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rPr>
              <a:t>Impact of </a:t>
            </a:r>
            <a:r>
              <a:rPr kumimoji="0" lang="nl-NL" sz="36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rPr>
              <a:t>Social</a:t>
            </a:r>
            <a:r>
              <a:rPr kumimoji="0" lang="nl-NL" sz="36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rPr>
              <a:t> Sciences, </a:t>
            </a:r>
            <a:r>
              <a:rPr kumimoji="0" lang="nl-NL" sz="36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rPr>
              <a:t>Humanities</a:t>
            </a:r>
            <a:r>
              <a:rPr lang="nl-NL" sz="3600" i="1" dirty="0">
                <a:solidFill>
                  <a:prstClr val="black">
                    <a:lumMod val="50000"/>
                  </a:prstClr>
                </a:solidFill>
                <a:latin typeface="Garamond" panose="02020404030301010803" pitchFamily="18" charset="0"/>
              </a:rPr>
              <a:t> </a:t>
            </a:r>
            <a:r>
              <a:rPr lang="nl-NL" sz="3600" i="1" dirty="0" err="1">
                <a:solidFill>
                  <a:prstClr val="black">
                    <a:lumMod val="50000"/>
                  </a:prstClr>
                </a:solidFill>
                <a:latin typeface="Garamond" panose="02020404030301010803" pitchFamily="18" charset="0"/>
              </a:rPr>
              <a:t>and</a:t>
            </a:r>
            <a:r>
              <a:rPr lang="nl-NL" sz="3600" i="1" dirty="0">
                <a:solidFill>
                  <a:prstClr val="black">
                    <a:lumMod val="50000"/>
                  </a:prstClr>
                </a:solidFill>
                <a:latin typeface="Garamond" panose="02020404030301010803" pitchFamily="18" charset="0"/>
              </a:rPr>
              <a:t> Arts Conference </a:t>
            </a:r>
          </a:p>
          <a:p>
            <a:pPr lvl="0" algn="ctr"/>
            <a:r>
              <a:rPr lang="nl-NL" sz="3600" i="1" dirty="0">
                <a:solidFill>
                  <a:prstClr val="black">
                    <a:lumMod val="50000"/>
                  </a:prstClr>
                </a:solidFill>
                <a:latin typeface="Garamond" panose="02020404030301010803" pitchFamily="18" charset="0"/>
              </a:rPr>
              <a:t>The Parallel </a:t>
            </a:r>
            <a:r>
              <a:rPr lang="nl-NL" sz="3600" i="1" dirty="0" err="1">
                <a:solidFill>
                  <a:prstClr val="black">
                    <a:lumMod val="50000"/>
                  </a:prstClr>
                </a:solidFill>
                <a:latin typeface="Garamond" panose="02020404030301010803" pitchFamily="18" charset="0"/>
              </a:rPr>
              <a:t>Session</a:t>
            </a:r>
            <a:r>
              <a:rPr lang="nl-NL" sz="3600" i="1" dirty="0">
                <a:solidFill>
                  <a:prstClr val="black">
                    <a:lumMod val="50000"/>
                  </a:prstClr>
                </a:solidFill>
                <a:latin typeface="Garamond" panose="02020404030301010803" pitchFamily="18" charset="0"/>
              </a:rPr>
              <a:t> on:  </a:t>
            </a:r>
            <a:endParaRPr kumimoji="0" lang="nl-NL" sz="3600" b="0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</a:prstClr>
              </a:solidFill>
              <a:effectLst/>
              <a:uLnTx/>
              <a:uFillTx/>
              <a:latin typeface="Garamond" panose="02020404030301010803" pitchFamily="18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2000" b="0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</a:prstClr>
              </a:solidFill>
              <a:effectLst/>
              <a:uLnTx/>
              <a:uFillTx/>
              <a:latin typeface="Garamond" panose="02020404030301010803" pitchFamily="18" charset="0"/>
              <a:ea typeface="+mn-ea"/>
              <a:cs typeface="+mn-cs"/>
            </a:endParaRPr>
          </a:p>
          <a:p>
            <a:pPr lvl="0" algn="ctr"/>
            <a:r>
              <a:rPr lang="en-US" sz="4800" b="1" dirty="0">
                <a:solidFill>
                  <a:srgbClr val="820000"/>
                </a:solidFill>
                <a:latin typeface="Garamond" panose="02020404030301010803" pitchFamily="18" charset="0"/>
              </a:rPr>
              <a:t>Using Interdisciplinarity for Societal Impact and Excellence</a:t>
            </a:r>
            <a:endParaRPr kumimoji="0" lang="nl-NL" sz="4800" b="1" i="0" u="none" strike="noStrike" kern="1200" cap="none" spc="0" normalizeH="0" baseline="0" noProof="0" dirty="0">
              <a:ln>
                <a:noFill/>
              </a:ln>
              <a:solidFill>
                <a:srgbClr val="820000"/>
              </a:solidFill>
              <a:effectLst/>
              <a:uLnTx/>
              <a:uFillTx/>
              <a:latin typeface="Garamond" panose="02020404030301010803" pitchFamily="18" charset="0"/>
              <a:ea typeface="+mn-ea"/>
              <a:cs typeface="+mn-cs"/>
            </a:endParaRPr>
          </a:p>
        </p:txBody>
      </p:sp>
      <p:sp>
        <p:nvSpPr>
          <p:cNvPr id="20" name="Tekstvak 19"/>
          <p:cNvSpPr txBox="1"/>
          <p:nvPr/>
        </p:nvSpPr>
        <p:spPr>
          <a:xfrm>
            <a:off x="2220690" y="5102943"/>
            <a:ext cx="77854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2400" b="1" dirty="0">
                <a:solidFill>
                  <a:prstClr val="black"/>
                </a:solidFill>
                <a:latin typeface="Garamond" panose="02020404030301010803" pitchFamily="18" charset="0"/>
              </a:rPr>
              <a:t>13 October, 2021</a:t>
            </a:r>
            <a:endParaRPr kumimoji="0" lang="nl-NL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1097737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95F88B5-97B2-41E3-9A2B-CED8A58043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1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95F88B5-97B2-41E3-9A2B-CED8A58043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97F718D-787A-42E3-A4E2-8474365F65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2481" y="432000"/>
            <a:ext cx="5217804" cy="980875"/>
          </a:xfrm>
        </p:spPr>
        <p:txBody>
          <a:bodyPr vert="horz"/>
          <a:lstStyle/>
          <a:p>
            <a:r>
              <a:rPr lang="en-GB" dirty="0"/>
              <a:t>Challenge Programm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7C6634-6383-4514-85D7-7F03C9402AD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32481" y="2495107"/>
            <a:ext cx="5271805" cy="2586908"/>
          </a:xfrm>
        </p:spPr>
        <p:txBody>
          <a:bodyPr/>
          <a:lstStyle/>
          <a:p>
            <a:pPr marL="0" indent="0">
              <a:buNone/>
            </a:pPr>
            <a:r>
              <a:rPr lang="en-GB" sz="1867" b="1" dirty="0">
                <a:solidFill>
                  <a:schemeClr val="accent1"/>
                </a:solidFill>
              </a:rPr>
              <a:t>Key information</a:t>
            </a:r>
          </a:p>
          <a:p>
            <a:r>
              <a:rPr lang="en-GB" sz="1200" dirty="0">
                <a:solidFill>
                  <a:srgbClr val="001965"/>
                </a:solidFill>
              </a:rPr>
              <a:t>Substantial funding to challenging and ambitious projects focused on in-depth research </a:t>
            </a:r>
          </a:p>
          <a:p>
            <a:r>
              <a:rPr lang="en-US" sz="1200" dirty="0">
                <a:solidFill>
                  <a:srgbClr val="001965"/>
                </a:solidFill>
              </a:rPr>
              <a:t>Annually selected research themes</a:t>
            </a:r>
            <a:endParaRPr lang="da-DK" sz="1200" dirty="0">
              <a:solidFill>
                <a:srgbClr val="001965"/>
              </a:solidFill>
            </a:endParaRPr>
          </a:p>
          <a:p>
            <a:r>
              <a:rPr lang="da-DK" sz="1200" dirty="0">
                <a:solidFill>
                  <a:schemeClr val="accent1"/>
                </a:solidFill>
              </a:rPr>
              <a:t>A </a:t>
            </a:r>
            <a:r>
              <a:rPr lang="en-GB" sz="1200" dirty="0">
                <a:solidFill>
                  <a:schemeClr val="accent1"/>
                </a:solidFill>
              </a:rPr>
              <a:t>collaborative effort in a centre-like setup.</a:t>
            </a:r>
          </a:p>
          <a:p>
            <a:r>
              <a:rPr lang="en-US" sz="1200" dirty="0">
                <a:solidFill>
                  <a:srgbClr val="001965"/>
                </a:solidFill>
              </a:rPr>
              <a:t>Consortia with 2 - 4 research groups</a:t>
            </a:r>
          </a:p>
          <a:p>
            <a:r>
              <a:rPr lang="en-GB" sz="1200" dirty="0">
                <a:solidFill>
                  <a:srgbClr val="001965"/>
                </a:solidFill>
              </a:rPr>
              <a:t>Main applicant anchored in Denmark. 1 - 3 co-applicants (may be international)</a:t>
            </a:r>
          </a:p>
          <a:p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5AC1544-87AE-4906-9A42-8658E185C0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46"/>
            <a:endParaRPr lang="en-GB">
              <a:solidFill>
                <a:srgbClr val="001965"/>
              </a:solidFill>
              <a:latin typeface="Novo Apply San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378E2D3-CA95-46ED-AF5E-2DA66B7B06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46"/>
            <a:fld id="{4D833E3B-2778-42F4-9ABB-9F6DE98C7B48}" type="slidenum">
              <a:rPr lang="en-GB">
                <a:solidFill>
                  <a:srgbClr val="001965"/>
                </a:solidFill>
                <a:latin typeface="Novo Apply Sans"/>
              </a:rPr>
              <a:pPr defTabSz="914446"/>
              <a:t>10</a:t>
            </a:fld>
            <a:endParaRPr lang="en-GB">
              <a:solidFill>
                <a:srgbClr val="001965"/>
              </a:solidFill>
              <a:latin typeface="Novo Apply San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91F8195-4974-4EA5-B942-8A03C4263413}"/>
              </a:ext>
            </a:extLst>
          </p:cNvPr>
          <p:cNvSpPr/>
          <p:nvPr/>
        </p:nvSpPr>
        <p:spPr>
          <a:xfrm>
            <a:off x="0" y="0"/>
            <a:ext cx="6204155" cy="6858000"/>
          </a:xfrm>
          <a:custGeom>
            <a:avLst/>
            <a:gdLst>
              <a:gd name="connsiteX0" fmla="*/ 0 w 9306232"/>
              <a:gd name="connsiteY0" fmla="*/ 0 h 10287000"/>
              <a:gd name="connsiteX1" fmla="*/ 9306232 w 9306232"/>
              <a:gd name="connsiteY1" fmla="*/ 0 h 10287000"/>
              <a:gd name="connsiteX2" fmla="*/ 9306232 w 9306232"/>
              <a:gd name="connsiteY2" fmla="*/ 10287000 h 10287000"/>
              <a:gd name="connsiteX3" fmla="*/ 0 w 9306232"/>
              <a:gd name="connsiteY3" fmla="*/ 10287000 h 10287000"/>
              <a:gd name="connsiteX4" fmla="*/ 0 w 9306232"/>
              <a:gd name="connsiteY4" fmla="*/ 0 h 10287000"/>
              <a:gd name="connsiteX0" fmla="*/ 0 w 9306232"/>
              <a:gd name="connsiteY0" fmla="*/ 0 h 10287000"/>
              <a:gd name="connsiteX1" fmla="*/ 6203268 w 9306232"/>
              <a:gd name="connsiteY1" fmla="*/ 14991 h 10287000"/>
              <a:gd name="connsiteX2" fmla="*/ 9306232 w 9306232"/>
              <a:gd name="connsiteY2" fmla="*/ 10287000 h 10287000"/>
              <a:gd name="connsiteX3" fmla="*/ 0 w 9306232"/>
              <a:gd name="connsiteY3" fmla="*/ 10287000 h 10287000"/>
              <a:gd name="connsiteX4" fmla="*/ 0 w 9306232"/>
              <a:gd name="connsiteY4" fmla="*/ 0 h 10287000"/>
              <a:gd name="connsiteX0" fmla="*/ 0 w 9306232"/>
              <a:gd name="connsiteY0" fmla="*/ 0 h 10287000"/>
              <a:gd name="connsiteX1" fmla="*/ 6203268 w 9306232"/>
              <a:gd name="connsiteY1" fmla="*/ 14991 h 10287000"/>
              <a:gd name="connsiteX2" fmla="*/ 9306232 w 9306232"/>
              <a:gd name="connsiteY2" fmla="*/ 10287000 h 10287000"/>
              <a:gd name="connsiteX3" fmla="*/ 0 w 9306232"/>
              <a:gd name="connsiteY3" fmla="*/ 10287000 h 10287000"/>
              <a:gd name="connsiteX4" fmla="*/ 0 w 9306232"/>
              <a:gd name="connsiteY4" fmla="*/ 0 h 10287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06232" h="10287000">
                <a:moveTo>
                  <a:pt x="0" y="0"/>
                </a:moveTo>
                <a:lnTo>
                  <a:pt x="6203268" y="14991"/>
                </a:lnTo>
                <a:cubicBezTo>
                  <a:pt x="10370533" y="5852411"/>
                  <a:pt x="8271911" y="6862997"/>
                  <a:pt x="9306232" y="10287000"/>
                </a:cubicBez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46"/>
            <a:endParaRPr lang="en-GB" sz="1600" spc="7">
              <a:solidFill>
                <a:srgbClr val="FFFFFF"/>
              </a:solidFill>
              <a:latin typeface="Novo Apply San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00199C4-72F5-4B3C-AFAF-EB84D971B55B}"/>
              </a:ext>
            </a:extLst>
          </p:cNvPr>
          <p:cNvSpPr/>
          <p:nvPr/>
        </p:nvSpPr>
        <p:spPr>
          <a:xfrm>
            <a:off x="6332481" y="922437"/>
            <a:ext cx="499322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46"/>
            <a:r>
              <a:rPr lang="en-GB" sz="1600" dirty="0">
                <a:solidFill>
                  <a:srgbClr val="001965"/>
                </a:solidFill>
                <a:latin typeface="Novo Apply Sans"/>
              </a:rPr>
              <a:t>To overcome specific challenges in health, technology and environment </a:t>
            </a:r>
            <a:endParaRPr lang="en-GB" sz="1600" dirty="0">
              <a:solidFill>
                <a:srgbClr val="000000"/>
              </a:solidFill>
              <a:latin typeface="Novo Apply San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3733479-BECE-4040-A111-A05D1867BCC0}"/>
              </a:ext>
            </a:extLst>
          </p:cNvPr>
          <p:cNvSpPr/>
          <p:nvPr/>
        </p:nvSpPr>
        <p:spPr>
          <a:xfrm>
            <a:off x="6332481" y="5192941"/>
            <a:ext cx="3268457" cy="89413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46"/>
            <a:endParaRPr lang="en-GB" sz="1600" spc="7">
              <a:solidFill>
                <a:srgbClr val="FFFFFF"/>
              </a:solidFill>
              <a:latin typeface="Novo Apply San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F4DD600-D4F6-48CD-98BA-28ECB9FE760A}"/>
              </a:ext>
            </a:extLst>
          </p:cNvPr>
          <p:cNvSpPr/>
          <p:nvPr/>
        </p:nvSpPr>
        <p:spPr>
          <a:xfrm>
            <a:off x="6431673" y="5356254"/>
            <a:ext cx="3169264" cy="7489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46">
              <a:spcBef>
                <a:spcPts val="400"/>
              </a:spcBef>
              <a:spcAft>
                <a:spcPts val="400"/>
              </a:spcAft>
            </a:pPr>
            <a:r>
              <a:rPr lang="en-GB" sz="1200" dirty="0">
                <a:solidFill>
                  <a:srgbClr val="FFFFFF"/>
                </a:solidFill>
                <a:latin typeface="Novo Apply Sans"/>
              </a:rPr>
              <a:t>Grant budget: </a:t>
            </a:r>
            <a:r>
              <a:rPr lang="en-GB" sz="1200" b="1" dirty="0">
                <a:solidFill>
                  <a:srgbClr val="FFFFFF"/>
                </a:solidFill>
                <a:latin typeface="Novo Apply Sans"/>
              </a:rPr>
              <a:t>DKK 30 - 60 million over 6 years </a:t>
            </a:r>
          </a:p>
          <a:p>
            <a:pPr defTabSz="914446">
              <a:spcBef>
                <a:spcPts val="400"/>
              </a:spcBef>
              <a:spcAft>
                <a:spcPts val="400"/>
              </a:spcAft>
            </a:pPr>
            <a:r>
              <a:rPr lang="en-GB" sz="1200" dirty="0">
                <a:solidFill>
                  <a:srgbClr val="FFFFFF"/>
                </a:solidFill>
                <a:latin typeface="Novo Apply Sans"/>
              </a:rPr>
              <a:t>Application deadline: </a:t>
            </a:r>
            <a:r>
              <a:rPr lang="en-GB" sz="1200" b="1" dirty="0">
                <a:solidFill>
                  <a:srgbClr val="FFFFFF"/>
                </a:solidFill>
                <a:latin typeface="Novo Apply Sans"/>
              </a:rPr>
              <a:t>27 October 2021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C3C7A1C-7D1E-4A76-8459-238EAC19B039}"/>
              </a:ext>
            </a:extLst>
          </p:cNvPr>
          <p:cNvSpPr txBox="1"/>
          <p:nvPr/>
        </p:nvSpPr>
        <p:spPr>
          <a:xfrm>
            <a:off x="9707401" y="5188675"/>
            <a:ext cx="2178238" cy="898400"/>
          </a:xfrm>
          <a:prstGeom prst="rect">
            <a:avLst/>
          </a:prstGeom>
          <a:solidFill>
            <a:srgbClr val="8E7387"/>
          </a:solidFill>
        </p:spPr>
        <p:txBody>
          <a:bodyPr wrap="square" lIns="0" tIns="0" rIns="0" bIns="0" rtlCol="0">
            <a:noAutofit/>
          </a:bodyPr>
          <a:lstStyle/>
          <a:p>
            <a:pPr defTabSz="914446">
              <a:lnSpc>
                <a:spcPct val="107000"/>
              </a:lnSpc>
              <a:spcAft>
                <a:spcPts val="400"/>
              </a:spcAft>
            </a:pPr>
            <a:endParaRPr lang="en-GB" sz="1600" spc="7" dirty="0">
              <a:solidFill>
                <a:srgbClr val="001965"/>
              </a:solidFill>
              <a:latin typeface="Novo Apply Sans" panose="020B0503030000000000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26FD714-7C76-4B83-9037-23139BC59A78}"/>
              </a:ext>
            </a:extLst>
          </p:cNvPr>
          <p:cNvSpPr/>
          <p:nvPr/>
        </p:nvSpPr>
        <p:spPr>
          <a:xfrm>
            <a:off x="9835056" y="5340786"/>
            <a:ext cx="1675459" cy="58471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46">
              <a:spcBef>
                <a:spcPts val="400"/>
              </a:spcBef>
              <a:spcAft>
                <a:spcPts val="400"/>
              </a:spcAft>
            </a:pPr>
            <a:r>
              <a:rPr lang="en-GB" sz="1333" b="1" dirty="0">
                <a:solidFill>
                  <a:srgbClr val="FFFFFF"/>
                </a:solidFill>
                <a:latin typeface="Novo Apply Sans"/>
              </a:rPr>
              <a:t>RESEARCH AREA</a:t>
            </a:r>
          </a:p>
          <a:p>
            <a:pPr defTabSz="914446">
              <a:spcBef>
                <a:spcPts val="400"/>
              </a:spcBef>
              <a:spcAft>
                <a:spcPts val="400"/>
              </a:spcAft>
            </a:pPr>
            <a:r>
              <a:rPr lang="en-GB" sz="1200" dirty="0">
                <a:solidFill>
                  <a:srgbClr val="FFFFFF"/>
                </a:solidFill>
                <a:latin typeface="Novo Apply Sans"/>
              </a:rPr>
              <a:t>Thematic</a:t>
            </a:r>
          </a:p>
        </p:txBody>
      </p:sp>
      <p:pic>
        <p:nvPicPr>
          <p:cNvPr id="13" name="Graphic 12" descr="Magnifying glass">
            <a:extLst>
              <a:ext uri="{FF2B5EF4-FFF2-40B4-BE49-F238E27FC236}">
                <a16:creationId xmlns:a16="http://schemas.microsoft.com/office/drawing/2014/main" id="{89B794A8-F275-4C76-B5CA-C2C791F3697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flipH="1">
            <a:off x="11222610" y="5401978"/>
            <a:ext cx="471795" cy="471795"/>
          </a:xfrm>
          <a:prstGeom prst="rect">
            <a:avLst/>
          </a:prstGeom>
        </p:spPr>
      </p:pic>
      <p:sp>
        <p:nvSpPr>
          <p:cNvPr id="14" name="Oval 13">
            <a:extLst>
              <a:ext uri="{FF2B5EF4-FFF2-40B4-BE49-F238E27FC236}">
                <a16:creationId xmlns:a16="http://schemas.microsoft.com/office/drawing/2014/main" id="{260669C0-A8BE-4428-8E4A-8BA1D3A54D77}"/>
              </a:ext>
            </a:extLst>
          </p:cNvPr>
          <p:cNvSpPr/>
          <p:nvPr/>
        </p:nvSpPr>
        <p:spPr>
          <a:xfrm rot="1336938">
            <a:off x="270367" y="4440188"/>
            <a:ext cx="2172422" cy="217242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46"/>
            <a:r>
              <a:rPr lang="en-GB" sz="1867" b="1" spc="7" dirty="0">
                <a:solidFill>
                  <a:srgbClr val="001965"/>
                </a:solidFill>
                <a:latin typeface="Novo Apply Sans"/>
              </a:rPr>
              <a:t>2022 themes announced at the end of this presentation</a:t>
            </a:r>
            <a:endParaRPr lang="en-GB" sz="1600" b="1" spc="7" dirty="0">
              <a:solidFill>
                <a:srgbClr val="001965"/>
              </a:solidFill>
              <a:latin typeface="Novo Apply Sans"/>
            </a:endParaRPr>
          </a:p>
        </p:txBody>
      </p:sp>
    </p:spTree>
    <p:extLst>
      <p:ext uri="{BB962C8B-B14F-4D97-AF65-F5344CB8AC3E}">
        <p14:creationId xmlns:p14="http://schemas.microsoft.com/office/powerpoint/2010/main" val="23171059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73DDB6A-B0A7-491F-B7D2-D9F4675F4D3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5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73DDB6A-B0A7-491F-B7D2-D9F4675F4D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939D240-8E66-4A93-A170-F7DBF8CA7FC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05833" cy="10583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14446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</a:pPr>
            <a:endParaRPr lang="en-GB" sz="3200" dirty="0" err="1">
              <a:solidFill>
                <a:srgbClr val="FFFFFF"/>
              </a:solidFill>
              <a:latin typeface="Novo Apply Sans" panose="020B0503030000000000" pitchFamily="34" charset="0"/>
              <a:sym typeface="Novo Apply Sans" panose="020B0503030000000000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6C9D148-0277-4648-BAB1-C70B5B5036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latin typeface="Novo Apply Sans" panose="020B0503030000000000" pitchFamily="34" charset="0"/>
              </a:rPr>
              <a:t>New Exploratory Research and Discovery (NERD) Programm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EFA2168-1C69-495E-8F06-42032163A05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47200"/>
            <a:ext cx="0" cy="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46" rtl="0" eaLnBrk="1" latinLnBrk="0" hangingPunct="1">
              <a:defRPr sz="100" kern="1200" cap="all" baseline="0">
                <a:noFill/>
                <a:latin typeface="+mn-lt"/>
                <a:ea typeface="+mn-ea"/>
                <a:cs typeface="+mn-cs"/>
              </a:defRPr>
            </a:lvl1pPr>
            <a:lvl2pPr marL="457223" algn="l" defTabSz="91444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46" algn="l" defTabSz="91444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69" algn="l" defTabSz="91444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91" algn="l" defTabSz="91444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114" algn="l" defTabSz="91444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337" algn="l" defTabSz="91444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560" algn="l" defTabSz="91444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783" algn="l" defTabSz="91444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>
              <a:latin typeface="Novo Apply San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DB9704B-30E2-438F-A148-D34B99165B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46"/>
            <a:endParaRPr lang="en-GB" dirty="0">
              <a:solidFill>
                <a:srgbClr val="001965"/>
              </a:solidFill>
              <a:latin typeface="Novo Apply San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2AEF0D-6DF0-42FE-ABB2-57B62D9B20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46"/>
            <a:fld id="{4D833E3B-2778-42F4-9ABB-9F6DE98C7B48}" type="slidenum">
              <a:rPr lang="en-GB">
                <a:solidFill>
                  <a:srgbClr val="001965"/>
                </a:solidFill>
                <a:latin typeface="Novo Apply Sans"/>
              </a:rPr>
              <a:pPr defTabSz="914446"/>
              <a:t>11</a:t>
            </a:fld>
            <a:endParaRPr lang="en-GB" dirty="0">
              <a:solidFill>
                <a:srgbClr val="001965"/>
              </a:solidFill>
              <a:latin typeface="Novo Apply Sans"/>
            </a:endParaRPr>
          </a:p>
        </p:txBody>
      </p:sp>
      <p:pic>
        <p:nvPicPr>
          <p:cNvPr id="8" name="Picture Placeholder 12" descr="A person standing in front of a blackboard&#10;&#10;Description automatically generated">
            <a:extLst>
              <a:ext uri="{FF2B5EF4-FFF2-40B4-BE49-F238E27FC236}">
                <a16:creationId xmlns:a16="http://schemas.microsoft.com/office/drawing/2014/main" id="{C75E2C8D-4EE6-4CA0-9960-C43F0C64D00E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03" r="18903"/>
          <a:stretch/>
        </p:blipFill>
        <p:spPr>
          <a:xfrm>
            <a:off x="6972255" y="2193177"/>
            <a:ext cx="5156992" cy="466482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9B87E2A-A156-4737-8944-A1DDF869F445}"/>
              </a:ext>
            </a:extLst>
          </p:cNvPr>
          <p:cNvSpPr txBox="1"/>
          <p:nvPr/>
        </p:nvSpPr>
        <p:spPr>
          <a:xfrm>
            <a:off x="645459" y="1531243"/>
            <a:ext cx="11358283" cy="45717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46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</a:pPr>
            <a:r>
              <a:rPr lang="en-GB" sz="2133" dirty="0">
                <a:solidFill>
                  <a:srgbClr val="001965"/>
                </a:solidFill>
                <a:latin typeface="Novo Apply Sans" panose="020B0503030000000000" pitchFamily="34" charset="0"/>
              </a:rPr>
              <a:t>Supports highly </a:t>
            </a:r>
            <a:r>
              <a:rPr lang="en-GB" sz="2133" u="sng" dirty="0">
                <a:solidFill>
                  <a:srgbClr val="001965"/>
                </a:solidFill>
                <a:latin typeface="Novo Apply Sans" panose="020B0503030000000000" pitchFamily="34" charset="0"/>
              </a:rPr>
              <a:t>creative, daring and ambitious </a:t>
            </a:r>
            <a:r>
              <a:rPr lang="en-GB" sz="2133" dirty="0">
                <a:solidFill>
                  <a:srgbClr val="001965"/>
                </a:solidFill>
                <a:latin typeface="Novo Apply Sans" panose="020B0503030000000000" pitchFamily="34" charset="0"/>
              </a:rPr>
              <a:t>researchers at any career stage after PhD</a:t>
            </a:r>
          </a:p>
          <a:p>
            <a:pPr defTabSz="914446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</a:pPr>
            <a:endParaRPr lang="en-GB" sz="533" dirty="0">
              <a:solidFill>
                <a:srgbClr val="001965"/>
              </a:solidFill>
              <a:latin typeface="Novo Apply Sans" panose="020B0503030000000000" pitchFamily="34" charset="0"/>
            </a:endParaRPr>
          </a:p>
          <a:p>
            <a:pPr defTabSz="914446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</a:pPr>
            <a:r>
              <a:rPr lang="en-GB" sz="2133" dirty="0">
                <a:solidFill>
                  <a:srgbClr val="001965"/>
                </a:solidFill>
                <a:latin typeface="Novo Apply Sans" panose="020B0503030000000000" pitchFamily="34" charset="0"/>
              </a:rPr>
              <a:t>€2 million, 7-year, single-PI</a:t>
            </a:r>
          </a:p>
          <a:p>
            <a:pPr defTabSz="914446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</a:pPr>
            <a:endParaRPr lang="en-GB" sz="533" dirty="0">
              <a:solidFill>
                <a:srgbClr val="001965"/>
              </a:solidFill>
              <a:latin typeface="Novo Apply Sans" panose="020B0503030000000000" pitchFamily="34" charset="0"/>
            </a:endParaRPr>
          </a:p>
          <a:p>
            <a:pPr marL="304815" indent="-304815" defTabSz="914446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GB" sz="1867" dirty="0">
                <a:solidFill>
                  <a:srgbClr val="001965"/>
                </a:solidFill>
                <a:latin typeface="Novo Apply Sans" panose="020B0503030000000000" pitchFamily="34" charset="0"/>
              </a:rPr>
              <a:t>Reverse single-blinded evaluation:</a:t>
            </a:r>
          </a:p>
          <a:p>
            <a:pPr marL="800140" lvl="1" indent="-342917" defTabSz="914446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  <a:buFont typeface="+mj-lt"/>
              <a:buAutoNum type="arabicPeriod"/>
            </a:pPr>
            <a:r>
              <a:rPr lang="en-GB" sz="1867" dirty="0">
                <a:solidFill>
                  <a:srgbClr val="001965"/>
                </a:solidFill>
                <a:latin typeface="Novo Apply Sans" panose="020B0503030000000000" pitchFamily="34" charset="0"/>
              </a:rPr>
              <a:t>Anonymous evaluation of project idea</a:t>
            </a:r>
          </a:p>
          <a:p>
            <a:pPr marL="800140" lvl="1" indent="-342917" defTabSz="914446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  <a:buFont typeface="+mj-lt"/>
              <a:buAutoNum type="arabicPeriod"/>
            </a:pPr>
            <a:r>
              <a:rPr lang="en-GB" sz="1867" dirty="0">
                <a:solidFill>
                  <a:srgbClr val="001965"/>
                </a:solidFill>
                <a:latin typeface="Novo Apply Sans" panose="020B0503030000000000" pitchFamily="34" charset="0"/>
              </a:rPr>
              <a:t>Feasibility check</a:t>
            </a:r>
          </a:p>
          <a:p>
            <a:pPr marL="304815" indent="-304815" defTabSz="914446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GB" sz="1867" dirty="0">
                <a:solidFill>
                  <a:srgbClr val="001965"/>
                </a:solidFill>
                <a:latin typeface="Novo Apply Sans" panose="020B0503030000000000" pitchFamily="34" charset="0"/>
              </a:rPr>
              <a:t>Funding cap of €0.5 million per year as PI at start of project</a:t>
            </a:r>
          </a:p>
          <a:p>
            <a:pPr marL="304815" indent="-304815" defTabSz="914446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GB" sz="1867" dirty="0">
                <a:solidFill>
                  <a:srgbClr val="001965"/>
                </a:solidFill>
                <a:latin typeface="Novo Apply Sans" panose="020B0503030000000000" pitchFamily="34" charset="0"/>
              </a:rPr>
              <a:t>Applicant must dedicate time to the project </a:t>
            </a:r>
          </a:p>
          <a:p>
            <a:pPr defTabSz="914446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</a:pPr>
            <a:endParaRPr lang="en-GB" sz="2133" dirty="0">
              <a:solidFill>
                <a:srgbClr val="001965"/>
              </a:solidFill>
              <a:latin typeface="Novo Apply Sans" panose="020B0503030000000000" pitchFamily="34" charset="0"/>
            </a:endParaRPr>
          </a:p>
          <a:p>
            <a:pPr marL="304815" indent="-304815" defTabSz="914446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GB" sz="2133" dirty="0">
              <a:solidFill>
                <a:srgbClr val="001965"/>
              </a:solidFill>
              <a:latin typeface="Novo Apply Sans" panose="020B0503030000000000" pitchFamily="34" charset="0"/>
            </a:endParaRPr>
          </a:p>
          <a:p>
            <a:pPr marL="304815" indent="-304815" defTabSz="914446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GB" sz="2133" dirty="0">
              <a:solidFill>
                <a:srgbClr val="001965"/>
              </a:solidFill>
              <a:latin typeface="Novo Apply Sans" panose="020B0503030000000000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809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7558C4C-EFB3-46F3-98D7-B080AE334C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9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7558C4C-EFB3-46F3-98D7-B080AE334C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C6CDD9E-8077-4D71-8897-8F9ADF2F32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0000" y="2300665"/>
            <a:ext cx="6044400" cy="4154564"/>
          </a:xfrm>
        </p:spPr>
        <p:txBody>
          <a:bodyPr/>
          <a:lstStyle/>
          <a:p>
            <a:pPr marL="0" indent="0">
              <a:buNone/>
            </a:pPr>
            <a:endParaRPr lang="en-GB" sz="2133" baseline="-25000" dirty="0"/>
          </a:p>
          <a:p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92EE039-A52B-4955-9A1F-58682B5460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defTabSz="914446"/>
            <a:endParaRPr lang="en-GB" dirty="0">
              <a:solidFill>
                <a:srgbClr val="001965"/>
              </a:solidFill>
              <a:latin typeface="Novo Apply San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4FD4BA3-59F3-49EF-9E36-F7021368A6C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914446"/>
            <a:fld id="{4D833E3B-2778-42F4-9ABB-9F6DE98C7B48}" type="slidenum">
              <a:rPr lang="en-GB">
                <a:solidFill>
                  <a:srgbClr val="001965"/>
                </a:solidFill>
                <a:latin typeface="Novo Apply Sans"/>
              </a:rPr>
              <a:pPr defTabSz="914446"/>
              <a:t>12</a:t>
            </a:fld>
            <a:endParaRPr lang="en-GB" dirty="0">
              <a:solidFill>
                <a:srgbClr val="001965"/>
              </a:solidFill>
              <a:latin typeface="Novo Apply Sans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3FD3D78-27FE-4E3B-AE18-C75FD339C7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166251"/>
            <a:ext cx="6044400" cy="954087"/>
          </a:xfrm>
        </p:spPr>
        <p:txBody>
          <a:bodyPr/>
          <a:lstStyle/>
          <a:p>
            <a:r>
              <a:rPr lang="da-DK" dirty="0" err="1"/>
              <a:t>Share</a:t>
            </a:r>
            <a:r>
              <a:rPr lang="da-DK" dirty="0"/>
              <a:t> of journal </a:t>
            </a:r>
            <a:r>
              <a:rPr lang="da-DK" dirty="0" err="1"/>
              <a:t>articles</a:t>
            </a:r>
            <a:r>
              <a:rPr lang="da-DK" dirty="0"/>
              <a:t> in top 1% and 10% of the </a:t>
            </a:r>
            <a:r>
              <a:rPr lang="da-DK" dirty="0" err="1"/>
              <a:t>world’s</a:t>
            </a:r>
            <a:r>
              <a:rPr lang="da-DK" dirty="0"/>
              <a:t> most </a:t>
            </a:r>
            <a:r>
              <a:rPr lang="da-DK" dirty="0" err="1"/>
              <a:t>frequently</a:t>
            </a:r>
            <a:r>
              <a:rPr lang="da-DK" dirty="0"/>
              <a:t> </a:t>
            </a:r>
            <a:r>
              <a:rPr lang="da-DK" dirty="0" err="1"/>
              <a:t>cited</a:t>
            </a:r>
            <a:r>
              <a:rPr lang="da-DK" dirty="0"/>
              <a:t> </a:t>
            </a:r>
            <a:r>
              <a:rPr lang="da-DK" dirty="0" err="1"/>
              <a:t>articles</a:t>
            </a:r>
            <a:r>
              <a:rPr lang="da-DK" dirty="0"/>
              <a:t> by </a:t>
            </a:r>
            <a:r>
              <a:rPr lang="da-DK" dirty="0" err="1"/>
              <a:t>number</a:t>
            </a:r>
            <a:r>
              <a:rPr lang="da-DK" dirty="0"/>
              <a:t> of </a:t>
            </a:r>
            <a:r>
              <a:rPr lang="da-DK" dirty="0" err="1"/>
              <a:t>field</a:t>
            </a:r>
            <a:r>
              <a:rPr lang="da-DK" dirty="0"/>
              <a:t> of </a:t>
            </a:r>
            <a:r>
              <a:rPr lang="da-DK" dirty="0" err="1"/>
              <a:t>sciences</a:t>
            </a:r>
            <a:r>
              <a:rPr lang="da-DK" dirty="0"/>
              <a:t> for </a:t>
            </a:r>
            <a:r>
              <a:rPr lang="da-DK" dirty="0" err="1"/>
              <a:t>authors</a:t>
            </a:r>
            <a:r>
              <a:rPr lang="da-DK" dirty="0"/>
              <a:t> and for all NNF-</a:t>
            </a:r>
            <a:r>
              <a:rPr lang="da-DK" dirty="0" err="1"/>
              <a:t>funded</a:t>
            </a:r>
            <a:r>
              <a:rPr lang="da-DK" dirty="0"/>
              <a:t> journal </a:t>
            </a:r>
            <a:r>
              <a:rPr lang="da-DK" dirty="0" err="1"/>
              <a:t>articles</a:t>
            </a:r>
            <a:endParaRPr lang="da-DK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9441743-818D-4EC6-BF66-1D7C1752EE4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1000" y="2573692"/>
            <a:ext cx="6142400" cy="3734343"/>
          </a:xfrm>
          <a:prstGeom prst="rect">
            <a:avLst/>
          </a:prstGeom>
        </p:spPr>
      </p:pic>
      <p:pic>
        <p:nvPicPr>
          <p:cNvPr id="17" name="Picture Placeholder 16" descr="A picture containing blue&#10;&#10;Description automatically generated">
            <a:extLst>
              <a:ext uri="{FF2B5EF4-FFF2-40B4-BE49-F238E27FC236}">
                <a16:creationId xmlns:a16="http://schemas.microsoft.com/office/drawing/2014/main" id="{5B0EE53B-42BF-41C7-ADC2-D0B4A5FBF8F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052" r="29052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704310917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0568EA4-12B2-43F0-A84A-5963C670490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57" y="99558"/>
            <a:ext cx="5760278" cy="2276999"/>
          </a:xfrm>
        </p:spPr>
        <p:txBody>
          <a:bodyPr/>
          <a:lstStyle/>
          <a:p>
            <a:r>
              <a:rPr lang="en-GB" sz="2933" dirty="0"/>
              <a:t>Implementation of partial randomisation to support more interdisciplinary (high risk/high gain) research</a:t>
            </a:r>
            <a:endParaRPr lang="da-DK" sz="2933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790931-AE37-433B-8E93-14E91AC5669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defTabSz="914446"/>
            <a:endParaRPr lang="en-GB">
              <a:solidFill>
                <a:srgbClr val="FFFFFF"/>
              </a:solidFill>
              <a:latin typeface="Novo Apply San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3228274-F3FA-4370-9A96-8A649A6E382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914446"/>
            <a:fld id="{4D833E3B-2778-42F4-9ABB-9F6DE98C7B48}" type="slidenum">
              <a:rPr lang="en-GB">
                <a:solidFill>
                  <a:srgbClr val="001965"/>
                </a:solidFill>
                <a:latin typeface="Novo Apply Sans"/>
              </a:rPr>
              <a:pPr defTabSz="914446"/>
              <a:t>13</a:t>
            </a:fld>
            <a:endParaRPr lang="en-GB">
              <a:solidFill>
                <a:srgbClr val="001965"/>
              </a:solidFill>
              <a:latin typeface="Novo Apply San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3A00A22-C660-4EDD-901D-98CABE244D42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8756" y="1233557"/>
            <a:ext cx="3503145" cy="4390886"/>
          </a:xfrm>
          <a:prstGeom prst="rect">
            <a:avLst/>
          </a:prstGeom>
        </p:spPr>
      </p:pic>
      <p:pic>
        <p:nvPicPr>
          <p:cNvPr id="17" name="Picture Placeholder 16" descr="Letter&#10;&#10;Description automatically generated">
            <a:extLst>
              <a:ext uri="{FF2B5EF4-FFF2-40B4-BE49-F238E27FC236}">
                <a16:creationId xmlns:a16="http://schemas.microsoft.com/office/drawing/2014/main" id="{6A7EBB8F-8B3D-465F-B98A-292527F749E3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40" r="16040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55859580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NL"/>
          </a:p>
        </p:txBody>
      </p:sp>
      <p:pic>
        <p:nvPicPr>
          <p:cNvPr id="4" name="Afbeelding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509" b="74431"/>
          <a:stretch/>
        </p:blipFill>
        <p:spPr>
          <a:xfrm>
            <a:off x="0" y="-240"/>
            <a:ext cx="6261463" cy="1272359"/>
          </a:xfrm>
          <a:prstGeom prst="rect">
            <a:avLst/>
          </a:prstGeom>
        </p:spPr>
      </p:pic>
      <p:sp>
        <p:nvSpPr>
          <p:cNvPr id="5" name="Rechthoek 4"/>
          <p:cNvSpPr/>
          <p:nvPr/>
        </p:nvSpPr>
        <p:spPr>
          <a:xfrm>
            <a:off x="6113417" y="-242"/>
            <a:ext cx="6113883" cy="1541660"/>
          </a:xfrm>
          <a:prstGeom prst="rect">
            <a:avLst/>
          </a:prstGeom>
          <a:solidFill>
            <a:srgbClr val="F7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kstvak 6"/>
          <p:cNvSpPr txBox="1"/>
          <p:nvPr/>
        </p:nvSpPr>
        <p:spPr>
          <a:xfrm>
            <a:off x="0" y="1250954"/>
            <a:ext cx="12227300" cy="580928"/>
          </a:xfrm>
          <a:prstGeom prst="rect">
            <a:avLst/>
          </a:prstGeom>
          <a:solidFill>
            <a:srgbClr val="820000"/>
          </a:solidFill>
          <a:ln w="76200"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aramond" panose="02020404030301010803" pitchFamily="18" charset="0"/>
              <a:ea typeface="+mn-ea"/>
              <a:cs typeface="+mn-cs"/>
            </a:endParaRPr>
          </a:p>
        </p:txBody>
      </p:sp>
      <p:sp>
        <p:nvSpPr>
          <p:cNvPr id="8" name="Rechthoek 7"/>
          <p:cNvSpPr/>
          <p:nvPr/>
        </p:nvSpPr>
        <p:spPr>
          <a:xfrm>
            <a:off x="0" y="6762201"/>
            <a:ext cx="12192000" cy="104508"/>
          </a:xfrm>
          <a:prstGeom prst="rect">
            <a:avLst/>
          </a:prstGeom>
          <a:solidFill>
            <a:srgbClr val="820000"/>
          </a:solidFill>
          <a:ln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7" name="Afbeelding 16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128" t="10859" r="29179" b="42807"/>
          <a:stretch/>
        </p:blipFill>
        <p:spPr>
          <a:xfrm>
            <a:off x="-1" y="6298562"/>
            <a:ext cx="1549269" cy="463639"/>
          </a:xfrm>
          <a:prstGeom prst="rect">
            <a:avLst/>
          </a:prstGeom>
        </p:spPr>
      </p:pic>
      <p:sp>
        <p:nvSpPr>
          <p:cNvPr id="10" name="Titel 1">
            <a:extLst>
              <a:ext uri="{FF2B5EF4-FFF2-40B4-BE49-F238E27FC236}">
                <a16:creationId xmlns:a16="http://schemas.microsoft.com/office/drawing/2014/main" id="{6DAA1982-755C-4897-B83D-619215647D02}"/>
              </a:ext>
            </a:extLst>
          </p:cNvPr>
          <p:cNvSpPr txBox="1">
            <a:spLocks/>
          </p:cNvSpPr>
          <p:nvPr/>
        </p:nvSpPr>
        <p:spPr>
          <a:xfrm>
            <a:off x="1700443" y="2443890"/>
            <a:ext cx="8825948" cy="3790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Aft>
                <a:spcPts val="1800"/>
              </a:spcAft>
            </a:pPr>
            <a:r>
              <a:rPr lang="nl-NL" sz="3300" b="1" dirty="0" err="1">
                <a:solidFill>
                  <a:srgbClr val="820000"/>
                </a:solidFill>
                <a:latin typeface="Garamond" panose="02020404030301010803" pitchFamily="18" charset="0"/>
              </a:rPr>
              <a:t>Angelika</a:t>
            </a:r>
            <a:r>
              <a:rPr lang="nl-NL" sz="3300" b="1" dirty="0">
                <a:solidFill>
                  <a:srgbClr val="820000"/>
                </a:solidFill>
                <a:latin typeface="Garamond" panose="02020404030301010803" pitchFamily="18" charset="0"/>
              </a:rPr>
              <a:t> </a:t>
            </a:r>
            <a:r>
              <a:rPr lang="nl-NL" sz="3300" b="1" dirty="0" err="1">
                <a:solidFill>
                  <a:srgbClr val="820000"/>
                </a:solidFill>
                <a:latin typeface="Garamond" panose="02020404030301010803" pitchFamily="18" charset="0"/>
              </a:rPr>
              <a:t>Zelisko</a:t>
            </a:r>
            <a:r>
              <a:rPr lang="nl-NL" sz="3300" b="1" dirty="0">
                <a:solidFill>
                  <a:srgbClr val="820000"/>
                </a:solidFill>
                <a:latin typeface="Garamond" panose="02020404030301010803" pitchFamily="18" charset="0"/>
              </a:rPr>
              <a:t> &amp; Tobias </a:t>
            </a:r>
            <a:r>
              <a:rPr lang="nl-NL" sz="3300" b="1" dirty="0" err="1">
                <a:solidFill>
                  <a:srgbClr val="820000"/>
                </a:solidFill>
                <a:latin typeface="Garamond" panose="02020404030301010803" pitchFamily="18" charset="0"/>
              </a:rPr>
              <a:t>Reckling</a:t>
            </a:r>
            <a:endParaRPr lang="nl-NL" sz="3300" b="1" dirty="0">
              <a:solidFill>
                <a:srgbClr val="820000"/>
              </a:solidFill>
              <a:latin typeface="Garamond" panose="02020404030301010803" pitchFamily="18" charset="0"/>
            </a:endParaRPr>
          </a:p>
          <a:p>
            <a:pPr algn="ctr">
              <a:spcAft>
                <a:spcPts val="1800"/>
              </a:spcAft>
            </a:pPr>
            <a:r>
              <a:rPr lang="en-US" sz="2500" i="1" dirty="0">
                <a:latin typeface="Garamond" panose="02020404030301010803" pitchFamily="18" charset="0"/>
              </a:rPr>
              <a:t>‘Innovation Matters’ project, University of Applied Arts Vienna &amp; University of Vienna, Austria</a:t>
            </a:r>
            <a:br>
              <a:rPr lang="nl-NL" sz="3600" dirty="0">
                <a:latin typeface="Garamond" panose="02020404030301010803" pitchFamily="18" charset="0"/>
              </a:rPr>
            </a:br>
            <a:endParaRPr lang="nl-NL" sz="3600" dirty="0">
              <a:latin typeface="Garamond" panose="02020404030301010803" pitchFamily="18" charset="0"/>
            </a:endParaRPr>
          </a:p>
        </p:txBody>
      </p:sp>
      <p:sp>
        <p:nvSpPr>
          <p:cNvPr id="13" name="Tekstvak 14">
            <a:extLst>
              <a:ext uri="{FF2B5EF4-FFF2-40B4-BE49-F238E27FC236}">
                <a16:creationId xmlns:a16="http://schemas.microsoft.com/office/drawing/2014/main" id="{74A62895-764F-49FF-9F34-65DE46DAA367}"/>
              </a:ext>
            </a:extLst>
          </p:cNvPr>
          <p:cNvSpPr txBox="1"/>
          <p:nvPr/>
        </p:nvSpPr>
        <p:spPr>
          <a:xfrm>
            <a:off x="9620834" y="6234477"/>
            <a:ext cx="2478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l-NL" sz="2400" b="1" dirty="0">
                <a:latin typeface="Garamond" panose="02020404030301010803" pitchFamily="18" charset="0"/>
              </a:rPr>
              <a:t>#SSHA21</a:t>
            </a:r>
          </a:p>
        </p:txBody>
      </p:sp>
      <p:sp>
        <p:nvSpPr>
          <p:cNvPr id="11" name="Tekstvak 5">
            <a:extLst>
              <a:ext uri="{FF2B5EF4-FFF2-40B4-BE49-F238E27FC236}">
                <a16:creationId xmlns:a16="http://schemas.microsoft.com/office/drawing/2014/main" id="{92A72207-1788-41FD-B3EC-A6DA58DCD3E9}"/>
              </a:ext>
            </a:extLst>
          </p:cNvPr>
          <p:cNvSpPr txBox="1">
            <a:spLocks/>
          </p:cNvSpPr>
          <p:nvPr/>
        </p:nvSpPr>
        <p:spPr>
          <a:xfrm>
            <a:off x="4428309" y="-19281"/>
            <a:ext cx="76708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r"/>
            <a:r>
              <a:rPr lang="en-US" sz="2400" dirty="0">
                <a:solidFill>
                  <a:srgbClr val="820000"/>
                </a:solidFill>
                <a:latin typeface="Garamond" panose="02020404030301010803" pitchFamily="18" charset="0"/>
              </a:rPr>
              <a:t>Impact of Social Sciences, Humanities and Arts </a:t>
            </a:r>
          </a:p>
          <a:p>
            <a:pPr lvl="0" algn="r"/>
            <a:r>
              <a:rPr lang="en-US" sz="2000" dirty="0">
                <a:solidFill>
                  <a:prstClr val="black"/>
                </a:solidFill>
                <a:latin typeface="Garamond" panose="02020404030301010803" pitchFamily="18" charset="0"/>
              </a:rPr>
              <a:t>13-15 October, 2021</a:t>
            </a:r>
          </a:p>
        </p:txBody>
      </p:sp>
    </p:spTree>
    <p:extLst>
      <p:ext uri="{BB962C8B-B14F-4D97-AF65-F5344CB8AC3E}">
        <p14:creationId xmlns:p14="http://schemas.microsoft.com/office/powerpoint/2010/main" val="421383029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49C41D8-F743-4692-91FA-093E59EC7F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95926" y="242485"/>
            <a:ext cx="11717517" cy="3566160"/>
          </a:xfrm>
        </p:spPr>
        <p:txBody>
          <a:bodyPr>
            <a:normAutofit/>
          </a:bodyPr>
          <a:lstStyle/>
          <a:p>
            <a:r>
              <a:rPr lang="de-DE" sz="4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RDISCIPLINARY KNOWLEDGE </a:t>
            </a:r>
            <a:br>
              <a:rPr lang="de-DE" sz="400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de-DE" sz="4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XCHANGE IN PRACTICE</a:t>
            </a:r>
            <a:br>
              <a:rPr lang="de-DE" sz="480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de-DE" sz="3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e Project Knowledge Transfer Center East – Innovation </a:t>
            </a:r>
            <a:r>
              <a:rPr lang="de-DE" sz="3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atters</a:t>
            </a:r>
            <a:br>
              <a:rPr lang="en-US" sz="24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br>
              <a:rPr lang="en-US" sz="24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br>
              <a:rPr lang="en-US" sz="24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endParaRPr lang="de-DE" sz="24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5948FBB-F34D-4E4D-A5AE-C82A5F5BBF5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ngelika Zelisko, University </a:t>
            </a:r>
            <a:r>
              <a:rPr 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f</a:t>
            </a: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pplied Arts Vienna</a:t>
            </a:r>
          </a:p>
          <a:p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obias Reckling, University </a:t>
            </a:r>
            <a:r>
              <a:rPr lang="de-DE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f</a:t>
            </a: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Vienna</a:t>
            </a:r>
          </a:p>
        </p:txBody>
      </p:sp>
    </p:spTree>
    <p:extLst>
      <p:ext uri="{BB962C8B-B14F-4D97-AF65-F5344CB8AC3E}">
        <p14:creationId xmlns:p14="http://schemas.microsoft.com/office/powerpoint/2010/main" val="189055173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75346" y="263527"/>
            <a:ext cx="10058400" cy="1450757"/>
          </a:xfrm>
        </p:spPr>
        <p:txBody>
          <a:bodyPr>
            <a:normAutofit/>
          </a:bodyPr>
          <a:lstStyle/>
          <a:p>
            <a:r>
              <a:rPr lang="de-DE" sz="4000" dirty="0"/>
              <a:t>Who </a:t>
            </a:r>
            <a:r>
              <a:rPr lang="de-DE" sz="4000" dirty="0" err="1"/>
              <a:t>we</a:t>
            </a:r>
            <a:r>
              <a:rPr lang="de-DE" sz="4000" dirty="0"/>
              <a:t> </a:t>
            </a:r>
            <a:r>
              <a:rPr lang="de-DE" sz="4000" dirty="0" err="1"/>
              <a:t>are</a:t>
            </a:r>
            <a:endParaRPr lang="en-GB" sz="400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193997" y="3303555"/>
            <a:ext cx="4561136" cy="4023360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</a:pPr>
            <a:r>
              <a:rPr lang="de-DE" dirty="0"/>
              <a:t>Mag. Angelika Zelisko</a:t>
            </a:r>
            <a:br>
              <a:rPr lang="de-DE" dirty="0"/>
            </a:br>
            <a:r>
              <a:rPr lang="de-DE" dirty="0"/>
              <a:t>DH Department Support </a:t>
            </a:r>
            <a:br>
              <a:rPr lang="de-DE" dirty="0"/>
            </a:br>
            <a:r>
              <a:rPr lang="de-DE" dirty="0"/>
              <a:t>Art and Research</a:t>
            </a:r>
          </a:p>
          <a:p>
            <a: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</a:pPr>
            <a:endParaRPr lang="de-DE" dirty="0"/>
          </a:p>
          <a:p>
            <a:pPr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</a:pPr>
            <a:r>
              <a:rPr lang="de-DE" dirty="0"/>
              <a:t>University </a:t>
            </a:r>
            <a:r>
              <a:rPr lang="de-DE" dirty="0" err="1"/>
              <a:t>of</a:t>
            </a:r>
            <a:r>
              <a:rPr lang="de-DE" dirty="0"/>
              <a:t> Applied Arts Vienna</a:t>
            </a:r>
          </a:p>
          <a:p>
            <a:pPr>
              <a:spcAft>
                <a:spcPts val="0"/>
              </a:spcAft>
            </a:pPr>
            <a:endParaRPr lang="de-DE" dirty="0"/>
          </a:p>
          <a:p>
            <a:pPr>
              <a:spcAft>
                <a:spcPts val="0"/>
              </a:spcAft>
            </a:pP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64121528-2C35-1843-BBA6-1CE48CBEC38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2086" y="2255647"/>
            <a:ext cx="2752003" cy="864000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23B0BD9E-364C-4408-8A68-10ACC2C39B69}"/>
              </a:ext>
            </a:extLst>
          </p:cNvPr>
          <p:cNvSpPr txBox="1"/>
          <p:nvPr/>
        </p:nvSpPr>
        <p:spPr>
          <a:xfrm>
            <a:off x="5755133" y="3303555"/>
            <a:ext cx="599611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bias Reckling, PhD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am Manager Knowledge Transfer &amp; </a:t>
            </a:r>
            <a:b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tional Funding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iversity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f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ienna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6759E41B-334F-48F9-9F8A-F5012AB9725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958" b="19414"/>
          <a:stretch/>
        </p:blipFill>
        <p:spPr>
          <a:xfrm>
            <a:off x="5641975" y="2094062"/>
            <a:ext cx="3070704" cy="1069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309709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85741B2-0200-46DD-920D-197CC9F36C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8220" y="317794"/>
            <a:ext cx="11895667" cy="1450757"/>
          </a:xfrm>
        </p:spPr>
        <p:txBody>
          <a:bodyPr>
            <a:normAutofit fontScale="90000"/>
          </a:bodyPr>
          <a:lstStyle/>
          <a:p>
            <a:br>
              <a:rPr lang="de-DE" dirty="0"/>
            </a:br>
            <a:r>
              <a:rPr lang="de-DE" sz="4400" dirty="0"/>
              <a:t>INTERDISCIPLINARY KNOWLEDGE </a:t>
            </a:r>
            <a:br>
              <a:rPr lang="de-DE" sz="4400" dirty="0"/>
            </a:br>
            <a:r>
              <a:rPr lang="de-DE" sz="4400" dirty="0"/>
              <a:t>EXCHANGE IN PRACTICE: Knowledge Transfer Center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46DFAB0-E7B6-46F2-8A71-6C9BB85056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1584" y="1845734"/>
            <a:ext cx="6446372" cy="4023360"/>
          </a:xfrm>
        </p:spPr>
        <p:txBody>
          <a:bodyPr>
            <a:normAutofit/>
          </a:bodyPr>
          <a:lstStyle/>
          <a:p>
            <a:pPr>
              <a:buClrTx/>
              <a:buFont typeface="Calibri" panose="020F0502020204030204" pitchFamily="34" charset="0"/>
              <a:buChar char="•"/>
            </a:pPr>
            <a:endParaRPr lang="de-DE" sz="2400" dirty="0"/>
          </a:p>
          <a:p>
            <a:pPr lvl="1">
              <a:buClrTx/>
              <a:buFont typeface="Calibri" panose="020F0502020204030204" pitchFamily="34" charset="0"/>
              <a:buChar char="•"/>
            </a:pPr>
            <a:r>
              <a:rPr lang="de-DE" sz="2200" dirty="0"/>
              <a:t>Knowledge Transfer Centers: </a:t>
            </a:r>
            <a:r>
              <a:rPr lang="de-DE" sz="2200" dirty="0" err="1"/>
              <a:t>funding</a:t>
            </a:r>
            <a:r>
              <a:rPr lang="de-DE" sz="2200" dirty="0"/>
              <a:t> </a:t>
            </a:r>
            <a:r>
              <a:rPr lang="de-DE" sz="2200" dirty="0" err="1"/>
              <a:t>scheme</a:t>
            </a:r>
            <a:r>
              <a:rPr lang="de-DE" sz="2200" dirty="0"/>
              <a:t> </a:t>
            </a:r>
            <a:r>
              <a:rPr lang="de-DE" sz="2200" dirty="0" err="1"/>
              <a:t>by</a:t>
            </a:r>
            <a:r>
              <a:rPr lang="de-DE" sz="2200" dirty="0"/>
              <a:t> </a:t>
            </a:r>
            <a:br>
              <a:rPr lang="de-DE" sz="2200" dirty="0"/>
            </a:br>
            <a:r>
              <a:rPr lang="de-DE" sz="2200" dirty="0" err="1"/>
              <a:t>the</a:t>
            </a:r>
            <a:r>
              <a:rPr lang="de-DE" sz="2200" dirty="0"/>
              <a:t> Austrian Promotion Bank (2014</a:t>
            </a:r>
            <a:r>
              <a:rPr lang="de-DE" sz="2400" dirty="0"/>
              <a:t>–2</a:t>
            </a:r>
            <a:r>
              <a:rPr lang="de-DE" sz="2200" dirty="0"/>
              <a:t>018, </a:t>
            </a:r>
            <a:br>
              <a:rPr lang="de-DE" sz="2200" dirty="0"/>
            </a:br>
            <a:r>
              <a:rPr lang="de-DE" sz="2200" dirty="0"/>
              <a:t>2019</a:t>
            </a:r>
            <a:r>
              <a:rPr lang="de-DE" sz="2400" dirty="0"/>
              <a:t>–2</a:t>
            </a:r>
            <a:r>
              <a:rPr lang="de-DE" sz="2200" dirty="0"/>
              <a:t>021)</a:t>
            </a:r>
          </a:p>
          <a:p>
            <a:pPr lvl="1">
              <a:buClrTx/>
              <a:buFont typeface="Calibri" panose="020F0502020204030204" pitchFamily="34" charset="0"/>
              <a:buChar char="•"/>
            </a:pPr>
            <a:r>
              <a:rPr lang="de-DE" sz="2200" dirty="0"/>
              <a:t>Funding </a:t>
            </a:r>
            <a:r>
              <a:rPr lang="de-DE" sz="2200" dirty="0" err="1"/>
              <a:t>for</a:t>
            </a:r>
            <a:r>
              <a:rPr lang="de-DE" sz="2200" dirty="0"/>
              <a:t> </a:t>
            </a:r>
            <a:r>
              <a:rPr lang="de-DE" sz="2200" dirty="0" err="1"/>
              <a:t>three</a:t>
            </a:r>
            <a:r>
              <a:rPr lang="de-DE" sz="2200" dirty="0"/>
              <a:t> regional </a:t>
            </a:r>
            <a:r>
              <a:rPr lang="de-DE" sz="2200" dirty="0" err="1"/>
              <a:t>consortia</a:t>
            </a:r>
            <a:r>
              <a:rPr lang="de-DE" sz="2200" dirty="0"/>
              <a:t> </a:t>
            </a:r>
            <a:r>
              <a:rPr lang="de-DE" sz="2200" dirty="0" err="1"/>
              <a:t>of</a:t>
            </a:r>
            <a:r>
              <a:rPr lang="de-DE" sz="2200" dirty="0"/>
              <a:t> </a:t>
            </a:r>
            <a:r>
              <a:rPr lang="de-DE" sz="2200" dirty="0" err="1"/>
              <a:t>universities</a:t>
            </a:r>
            <a:r>
              <a:rPr lang="de-DE" sz="2200" dirty="0"/>
              <a:t> and </a:t>
            </a:r>
            <a:r>
              <a:rPr lang="de-DE" sz="2200" dirty="0" err="1"/>
              <a:t>universities</a:t>
            </a:r>
            <a:r>
              <a:rPr lang="de-DE" sz="2200" dirty="0"/>
              <a:t> </a:t>
            </a:r>
            <a:r>
              <a:rPr lang="de-DE" sz="2200" dirty="0" err="1"/>
              <a:t>of</a:t>
            </a:r>
            <a:r>
              <a:rPr lang="de-DE" sz="2200" dirty="0"/>
              <a:t> </a:t>
            </a:r>
            <a:r>
              <a:rPr lang="de-DE" sz="2200" dirty="0" err="1"/>
              <a:t>applied</a:t>
            </a:r>
            <a:r>
              <a:rPr lang="de-DE" sz="2200" dirty="0"/>
              <a:t> </a:t>
            </a:r>
            <a:r>
              <a:rPr lang="de-DE" sz="2200" dirty="0" err="1"/>
              <a:t>sciences</a:t>
            </a:r>
            <a:endParaRPr lang="de-DE" sz="2200" dirty="0"/>
          </a:p>
          <a:p>
            <a:pPr lvl="1">
              <a:buClrTx/>
              <a:buFont typeface="Calibri" panose="020F0502020204030204" pitchFamily="34" charset="0"/>
              <a:buChar char="•"/>
            </a:pPr>
            <a:r>
              <a:rPr lang="de-DE" sz="2200" dirty="0" err="1"/>
              <a:t>Aim</a:t>
            </a:r>
            <a:r>
              <a:rPr lang="de-DE" sz="2200" dirty="0"/>
              <a:t>: Support </a:t>
            </a:r>
            <a:r>
              <a:rPr lang="de-DE" sz="2200" dirty="0" err="1"/>
              <a:t>of</a:t>
            </a:r>
            <a:r>
              <a:rPr lang="de-DE" sz="2200" dirty="0"/>
              <a:t> all </a:t>
            </a:r>
            <a:r>
              <a:rPr lang="de-DE" sz="2200" dirty="0" err="1"/>
              <a:t>aspects</a:t>
            </a:r>
            <a:r>
              <a:rPr lang="de-DE" sz="2200" dirty="0"/>
              <a:t> </a:t>
            </a:r>
            <a:r>
              <a:rPr lang="de-DE" sz="2200" dirty="0" err="1"/>
              <a:t>of</a:t>
            </a:r>
            <a:r>
              <a:rPr lang="de-DE" sz="2200" dirty="0"/>
              <a:t> </a:t>
            </a:r>
            <a:r>
              <a:rPr lang="de-DE" sz="2200" dirty="0" err="1"/>
              <a:t>knowledge</a:t>
            </a:r>
            <a:r>
              <a:rPr lang="de-DE" sz="2200" dirty="0"/>
              <a:t> and </a:t>
            </a:r>
            <a:r>
              <a:rPr lang="de-DE" sz="2200" dirty="0" err="1"/>
              <a:t>technology</a:t>
            </a:r>
            <a:r>
              <a:rPr lang="de-DE" sz="2200" dirty="0"/>
              <a:t> </a:t>
            </a:r>
            <a:r>
              <a:rPr lang="de-DE" sz="2200" dirty="0" err="1"/>
              <a:t>transfer</a:t>
            </a:r>
            <a:r>
              <a:rPr lang="de-DE" sz="2200" dirty="0"/>
              <a:t>, </a:t>
            </a:r>
            <a:r>
              <a:rPr lang="de-DE" sz="2200" dirty="0" err="1"/>
              <a:t>including</a:t>
            </a:r>
            <a:r>
              <a:rPr lang="de-DE" sz="2200" dirty="0"/>
              <a:t> </a:t>
            </a:r>
            <a:r>
              <a:rPr lang="de-DE" sz="2200" dirty="0" err="1"/>
              <a:t>the</a:t>
            </a:r>
            <a:r>
              <a:rPr lang="de-DE" sz="2200" dirty="0"/>
              <a:t> social </a:t>
            </a:r>
            <a:r>
              <a:rPr lang="de-DE" sz="2200" dirty="0" err="1"/>
              <a:t>sciences</a:t>
            </a:r>
            <a:r>
              <a:rPr lang="de-DE" sz="2200" dirty="0"/>
              <a:t>, </a:t>
            </a:r>
            <a:r>
              <a:rPr lang="de-DE" sz="2200" dirty="0" err="1"/>
              <a:t>humanities</a:t>
            </a:r>
            <a:r>
              <a:rPr lang="de-DE" sz="2200" dirty="0"/>
              <a:t>, and </a:t>
            </a:r>
            <a:r>
              <a:rPr lang="de-DE" sz="2200" dirty="0" err="1"/>
              <a:t>the</a:t>
            </a:r>
            <a:r>
              <a:rPr lang="de-DE" sz="2200" dirty="0"/>
              <a:t> </a:t>
            </a:r>
            <a:r>
              <a:rPr lang="de-DE" sz="2200" dirty="0" err="1"/>
              <a:t>arts</a:t>
            </a:r>
            <a:r>
              <a:rPr lang="de-DE" sz="2200" dirty="0"/>
              <a:t>. </a:t>
            </a:r>
          </a:p>
          <a:p>
            <a:pPr lvl="1">
              <a:buClrTx/>
              <a:buFont typeface="Calibri" panose="020F0502020204030204" pitchFamily="34" charset="0"/>
              <a:buChar char="•"/>
            </a:pPr>
            <a:r>
              <a:rPr lang="de-DE" sz="2200" dirty="0"/>
              <a:t>Total </a:t>
            </a:r>
            <a:r>
              <a:rPr lang="de-DE" sz="2200" dirty="0" err="1"/>
              <a:t>funding</a:t>
            </a:r>
            <a:r>
              <a:rPr lang="de-DE" sz="2200" dirty="0"/>
              <a:t> 2019-2021: 900.000 € per </a:t>
            </a:r>
            <a:r>
              <a:rPr lang="de-DE" sz="2200" dirty="0" err="1"/>
              <a:t>consortium</a:t>
            </a:r>
            <a:endParaRPr lang="de-DE" sz="2200" dirty="0"/>
          </a:p>
          <a:p>
            <a:pPr>
              <a:buClrTx/>
              <a:buFont typeface="Calibri" panose="020F0502020204030204" pitchFamily="34" charset="0"/>
              <a:buChar char="•"/>
            </a:pPr>
            <a:endParaRPr lang="de-DE" dirty="0"/>
          </a:p>
          <a:p>
            <a:pPr>
              <a:buClrTx/>
              <a:buFont typeface="Calibri" panose="020F0502020204030204" pitchFamily="34" charset="0"/>
              <a:buChar char="•"/>
            </a:pP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FA7C18A-0991-4F6C-90CA-EB4359FCCF7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742" y="2255168"/>
            <a:ext cx="1201460" cy="161137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A2B83832-19D1-4D0C-A129-2C6207A5594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2245" y="2255168"/>
            <a:ext cx="1201460" cy="161137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EF359659-C5D5-41B2-837E-3FA46536896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2748" y="2255168"/>
            <a:ext cx="1201460" cy="1611370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5E6DD530-DD1B-4BA1-8382-152AE6BDFF1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742" y="4104918"/>
            <a:ext cx="4360345" cy="470917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A0B920CA-DDB3-4020-A0D7-0D3999247D39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380"/>
          <a:stretch/>
        </p:blipFill>
        <p:spPr>
          <a:xfrm>
            <a:off x="1430955" y="4814215"/>
            <a:ext cx="1452492" cy="539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660618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>
            <a:extLst>
              <a:ext uri="{FF2B5EF4-FFF2-40B4-BE49-F238E27FC236}">
                <a16:creationId xmlns:a16="http://schemas.microsoft.com/office/drawing/2014/main" id="{385741B2-0200-46DD-920D-197CC9F36C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8220" y="317794"/>
            <a:ext cx="11895667" cy="1450757"/>
          </a:xfrm>
        </p:spPr>
        <p:txBody>
          <a:bodyPr>
            <a:normAutofit fontScale="90000"/>
          </a:bodyPr>
          <a:lstStyle/>
          <a:p>
            <a:br>
              <a:rPr lang="de-DE" dirty="0"/>
            </a:br>
            <a:r>
              <a:rPr lang="de-DE" sz="4400" dirty="0"/>
              <a:t>INTERDISCIPLINARY KNOWLEDGE </a:t>
            </a:r>
            <a:br>
              <a:rPr lang="de-DE" sz="4400" dirty="0"/>
            </a:br>
            <a:r>
              <a:rPr lang="de-DE" sz="4400" dirty="0"/>
              <a:t>EXCHANGE IN PRACTICE: Knowledge Transfer Centers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E46DFAB0-E7B6-46F2-8A71-6C9BB85056BF}"/>
              </a:ext>
            </a:extLst>
          </p:cNvPr>
          <p:cNvSpPr txBox="1">
            <a:spLocks/>
          </p:cNvSpPr>
          <p:nvPr/>
        </p:nvSpPr>
        <p:spPr>
          <a:xfrm>
            <a:off x="934189" y="4975796"/>
            <a:ext cx="6446372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91440" marR="0" lvl="0" indent="-9144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Tx/>
              <a:buSzPct val="100000"/>
              <a:buFont typeface="Calibri" panose="020F0502020204030204" pitchFamily="34" charset="0"/>
              <a:buChar char="•"/>
              <a:tabLst/>
              <a:defRPr/>
            </a:pPr>
            <a:endParaRPr kumimoji="0" lang="de-DE" sz="2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91440" marR="0" lvl="0" indent="-9144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Tx/>
              <a:buSzPct val="100000"/>
              <a:buFont typeface="Calibri" panose="020F0502020204030204" pitchFamily="34" charset="0"/>
              <a:buChar char="•"/>
              <a:tabLst/>
              <a:defRPr/>
            </a:pPr>
            <a:endParaRPr kumimoji="0" lang="de-DE" sz="2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EF359659-C5D5-41B2-837E-3FA46536896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2748" y="2255168"/>
            <a:ext cx="1201460" cy="1611370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5E6DD530-DD1B-4BA1-8382-152AE6BDFF1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742" y="4104918"/>
            <a:ext cx="4360345" cy="470917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A0B920CA-DDB3-4020-A0D7-0D3999247D3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380"/>
          <a:stretch/>
        </p:blipFill>
        <p:spPr>
          <a:xfrm>
            <a:off x="1430955" y="4814215"/>
            <a:ext cx="1452492" cy="539496"/>
          </a:xfrm>
          <a:prstGeom prst="rect">
            <a:avLst/>
          </a:prstGeom>
        </p:spPr>
      </p:pic>
      <p:sp>
        <p:nvSpPr>
          <p:cNvPr id="26" name="Inhaltsplatzhalter 2">
            <a:extLst>
              <a:ext uri="{FF2B5EF4-FFF2-40B4-BE49-F238E27FC236}">
                <a16:creationId xmlns:a16="http://schemas.microsoft.com/office/drawing/2014/main" id="{E46DFAB0-E7B6-46F2-8A71-6C9BB85056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1584" y="1845734"/>
            <a:ext cx="6446372" cy="4023360"/>
          </a:xfrm>
        </p:spPr>
        <p:txBody>
          <a:bodyPr>
            <a:normAutofit/>
          </a:bodyPr>
          <a:lstStyle/>
          <a:p>
            <a:pPr>
              <a:buClrTx/>
              <a:buFont typeface="Calibri" panose="020F0502020204030204" pitchFamily="34" charset="0"/>
              <a:buChar char="•"/>
            </a:pPr>
            <a:endParaRPr lang="de-DE" sz="2400" dirty="0"/>
          </a:p>
          <a:p>
            <a:pPr marL="201168" lvl="1" indent="0">
              <a:buClrTx/>
              <a:buNone/>
            </a:pPr>
            <a:r>
              <a:rPr lang="de-DE" sz="2200" b="1" dirty="0"/>
              <a:t>Knowledge Transfer Center East</a:t>
            </a:r>
          </a:p>
          <a:p>
            <a:pPr lvl="1">
              <a:buClrTx/>
              <a:buFont typeface="Calibri" pitchFamily="34" charset="0"/>
              <a:buChar char="•"/>
            </a:pPr>
            <a:r>
              <a:rPr lang="de-DE" sz="2200" dirty="0" err="1"/>
              <a:t>Consortium</a:t>
            </a:r>
            <a:r>
              <a:rPr lang="de-DE" sz="2200" dirty="0"/>
              <a:t> </a:t>
            </a:r>
            <a:r>
              <a:rPr lang="de-DE" sz="2200" dirty="0" err="1"/>
              <a:t>of</a:t>
            </a:r>
            <a:r>
              <a:rPr lang="de-DE" sz="2200" dirty="0"/>
              <a:t> 9 </a:t>
            </a:r>
            <a:r>
              <a:rPr lang="de-DE" sz="2200" dirty="0" err="1"/>
              <a:t>universities</a:t>
            </a:r>
            <a:r>
              <a:rPr lang="de-DE" sz="2200" dirty="0"/>
              <a:t> </a:t>
            </a:r>
            <a:r>
              <a:rPr lang="de-DE" sz="2200" dirty="0" err="1"/>
              <a:t>and</a:t>
            </a:r>
            <a:r>
              <a:rPr lang="de-DE" sz="2200" dirty="0"/>
              <a:t> </a:t>
            </a:r>
            <a:br>
              <a:rPr lang="de-DE" sz="2200" dirty="0"/>
            </a:br>
            <a:r>
              <a:rPr lang="de-DE" sz="2200" dirty="0"/>
              <a:t>3 </a:t>
            </a:r>
            <a:r>
              <a:rPr lang="de-DE" sz="2200" dirty="0" err="1"/>
              <a:t>universities</a:t>
            </a:r>
            <a:r>
              <a:rPr lang="de-DE" sz="2200" dirty="0"/>
              <a:t> </a:t>
            </a:r>
            <a:r>
              <a:rPr lang="de-DE" sz="2200" dirty="0" err="1"/>
              <a:t>of</a:t>
            </a:r>
            <a:r>
              <a:rPr lang="de-DE" sz="2200" dirty="0"/>
              <a:t> </a:t>
            </a:r>
            <a:r>
              <a:rPr lang="de-DE" sz="2200" dirty="0" err="1"/>
              <a:t>applied</a:t>
            </a:r>
            <a:r>
              <a:rPr lang="de-DE" sz="2200" dirty="0"/>
              <a:t> </a:t>
            </a:r>
            <a:r>
              <a:rPr lang="de-DE" sz="2200" dirty="0" err="1"/>
              <a:t>sciences</a:t>
            </a:r>
            <a:endParaRPr lang="de-DE" sz="2200" dirty="0"/>
          </a:p>
          <a:p>
            <a:pPr lvl="1">
              <a:buClrTx/>
              <a:buFont typeface="Calibri" pitchFamily="34" charset="0"/>
              <a:buChar char="•"/>
            </a:pPr>
            <a:r>
              <a:rPr lang="de-DE" sz="2200" dirty="0" err="1"/>
              <a:t>Approx</a:t>
            </a:r>
            <a:r>
              <a:rPr lang="de-DE" sz="2200" dirty="0"/>
              <a:t>. 20 </a:t>
            </a:r>
            <a:r>
              <a:rPr lang="de-DE" sz="2200" dirty="0" err="1"/>
              <a:t>external</a:t>
            </a:r>
            <a:r>
              <a:rPr lang="de-DE" sz="2200" dirty="0"/>
              <a:t> </a:t>
            </a:r>
            <a:r>
              <a:rPr lang="de-DE" sz="2200" dirty="0" err="1"/>
              <a:t>partners</a:t>
            </a:r>
            <a:r>
              <a:rPr lang="de-DE" sz="2200" dirty="0"/>
              <a:t> </a:t>
            </a:r>
            <a:br>
              <a:rPr lang="de-DE" sz="2200" dirty="0"/>
            </a:br>
            <a:r>
              <a:rPr lang="de-DE" sz="2200" dirty="0"/>
              <a:t>(i.e. </a:t>
            </a:r>
            <a:r>
              <a:rPr lang="de-DE" sz="2200" dirty="0" err="1"/>
              <a:t>funding</a:t>
            </a:r>
            <a:r>
              <a:rPr lang="de-DE" sz="2200" dirty="0"/>
              <a:t> </a:t>
            </a:r>
            <a:r>
              <a:rPr lang="de-DE" sz="2200" dirty="0" err="1"/>
              <a:t>agencies</a:t>
            </a:r>
            <a:r>
              <a:rPr lang="de-DE" sz="2200" dirty="0"/>
              <a:t>, City </a:t>
            </a:r>
            <a:r>
              <a:rPr lang="de-DE" sz="2200" dirty="0" err="1"/>
              <a:t>of</a:t>
            </a:r>
            <a:r>
              <a:rPr lang="de-DE" sz="2200" dirty="0"/>
              <a:t> Vienna, </a:t>
            </a:r>
            <a:r>
              <a:rPr lang="de-DE" sz="2200" dirty="0" err="1"/>
              <a:t>media</a:t>
            </a:r>
            <a:r>
              <a:rPr lang="de-DE" sz="2200" dirty="0"/>
              <a:t>)</a:t>
            </a:r>
            <a:endParaRPr lang="de-DE" sz="2400" dirty="0"/>
          </a:p>
          <a:p>
            <a:pPr>
              <a:buClrTx/>
              <a:buFont typeface="Calibri" panose="020F0502020204030204" pitchFamily="34" charset="0"/>
              <a:buChar char="•"/>
            </a:pPr>
            <a:endParaRPr lang="de-DE" dirty="0"/>
          </a:p>
          <a:p>
            <a:pPr>
              <a:buClrTx/>
              <a:buFont typeface="Calibri" panose="020F050202020403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4706358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95E8D592-9299-427C-8DE9-3B21CFC3A0F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906"/>
          <a:stretch/>
        </p:blipFill>
        <p:spPr>
          <a:xfrm>
            <a:off x="8420877" y="761056"/>
            <a:ext cx="2477565" cy="5294687"/>
          </a:xfrm>
          <a:prstGeom prst="rect">
            <a:avLst/>
          </a:prstGeom>
        </p:spPr>
      </p:pic>
      <p:sp>
        <p:nvSpPr>
          <p:cNvPr id="7" name="Titel 1">
            <a:extLst>
              <a:ext uri="{FF2B5EF4-FFF2-40B4-BE49-F238E27FC236}">
                <a16:creationId xmlns:a16="http://schemas.microsoft.com/office/drawing/2014/main" id="{385741B2-0200-46DD-920D-197CC9F36CA8}"/>
              </a:ext>
            </a:extLst>
          </p:cNvPr>
          <p:cNvSpPr txBox="1">
            <a:spLocks/>
          </p:cNvSpPr>
          <p:nvPr/>
        </p:nvSpPr>
        <p:spPr>
          <a:xfrm>
            <a:off x="428220" y="317794"/>
            <a:ext cx="11895667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80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0" b="0" i="0" u="none" strike="noStrike" kern="1200" cap="none" spc="-5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INNOVATION MATTERS:</a:t>
            </a:r>
            <a:br>
              <a:rPr kumimoji="0" lang="de-DE" sz="4000" b="0" i="0" u="none" strike="noStrike" kern="1200" cap="none" spc="-5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</a:br>
            <a:r>
              <a:rPr kumimoji="0" lang="de-DE" sz="4000" b="0" i="0" u="none" strike="noStrike" kern="1200" cap="none" spc="-5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Aims</a:t>
            </a:r>
            <a:r>
              <a:rPr kumimoji="0" lang="de-DE" sz="4000" b="0" i="0" u="none" strike="noStrike" kern="1200" cap="none" spc="-5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 &amp; Project </a:t>
            </a:r>
            <a:r>
              <a:rPr kumimoji="0" lang="de-DE" sz="4000" b="0" i="0" u="none" strike="noStrike" kern="1200" cap="none" spc="-5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Structure</a:t>
            </a:r>
            <a:endParaRPr kumimoji="0" lang="de-DE" sz="4000" b="0" i="1" u="none" strike="noStrike" kern="1200" cap="none" spc="-5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sp>
        <p:nvSpPr>
          <p:cNvPr id="8" name="Inhaltsplatzhalter 2"/>
          <p:cNvSpPr txBox="1">
            <a:spLocks/>
          </p:cNvSpPr>
          <p:nvPr/>
        </p:nvSpPr>
        <p:spPr>
          <a:xfrm>
            <a:off x="1193996" y="1845734"/>
            <a:ext cx="7579067" cy="402336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91440" marR="0" lvl="0" indent="-9144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1CADE4"/>
              </a:buClr>
              <a:buSzPct val="100000"/>
              <a:buFont typeface="Calibri" panose="020F0502020204030204" pitchFamily="34" charset="0"/>
              <a:buChar char=" "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ad: 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iversity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f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pplied Arts Vienna &amp; University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f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ienna</a:t>
            </a:r>
          </a:p>
          <a:p>
            <a:pPr marL="91440" marR="0" lvl="0" indent="-9144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1CADE4"/>
              </a:buClr>
              <a:buSzPct val="100000"/>
              <a:buFont typeface="Calibri" panose="020F0502020204030204" pitchFamily="34" charset="0"/>
              <a:buChar char=" "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urther </a:t>
            </a:r>
            <a:r>
              <a:rPr kumimoji="0" lang="de-DE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rtner</a:t>
            </a: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stitutions</a:t>
            </a: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enna University of Technology; </a:t>
            </a:r>
            <a:b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iversity of Natural Resources and Life Sciences, Vienna; </a:t>
            </a:r>
            <a:b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H Campus Vienna; FH </a:t>
            </a:r>
            <a:r>
              <a:rPr kumimoji="0" lang="en-GB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chnikum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ienna; University of Music and </a:t>
            </a:r>
            <a:b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forming Arts, Vienna; University of Veterinary Medicine, Vienna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91440" marR="0" lvl="0" indent="-9144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1CADE4"/>
              </a:buClr>
              <a:buSzPct val="100000"/>
              <a:buFont typeface="Calibri" panose="020F0502020204030204" pitchFamily="34" charset="0"/>
              <a:buChar char=" 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im: Fostering inter- and transdisciplinary cooperation </a:t>
            </a:r>
            <a:b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 address societal challenges by …</a:t>
            </a:r>
          </a:p>
          <a:p>
            <a:pPr marL="384048" marR="0" lvl="1" indent="-18288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pporting the establishment of mission-driven interdisciplinary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nowledge exchange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twork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384048" marR="0" lvl="1" indent="-18288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aching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f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en Science &amp; Innovation </a:t>
            </a:r>
            <a:r>
              <a:rPr kumimoji="0" lang="de-DE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thods</a:t>
            </a:r>
            <a:endParaRPr kumimoji="0" lang="de-DE" sz="18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84048" marR="0" lvl="1" indent="-18288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veloping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w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nsfer Format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1CADE4"/>
              </a:buClr>
              <a:buSzPct val="100000"/>
              <a:buFont typeface="Calibri" panose="020F0502020204030204" pitchFamily="34" charset="0"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ssion-</a:t>
            </a:r>
            <a:r>
              <a:rPr kumimoji="0" lang="de-DE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riven</a:t>
            </a: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proach</a:t>
            </a:r>
            <a:endParaRPr kumimoji="0" lang="de-DE" sz="18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84048" marR="0" lvl="1" indent="-18288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pics 2019–2021: i.e.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alth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– Education – Environment &amp; Mobility</a:t>
            </a:r>
          </a:p>
        </p:txBody>
      </p:sp>
    </p:spTree>
    <p:extLst>
      <p:ext uri="{BB962C8B-B14F-4D97-AF65-F5344CB8AC3E}">
        <p14:creationId xmlns:p14="http://schemas.microsoft.com/office/powerpoint/2010/main" val="8005237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endParaRPr lang="nl-NL"/>
          </a:p>
        </p:txBody>
      </p:sp>
      <p:pic>
        <p:nvPicPr>
          <p:cNvPr id="4" name="Afbeelding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509" b="74431"/>
          <a:stretch/>
        </p:blipFill>
        <p:spPr>
          <a:xfrm>
            <a:off x="0" y="-240"/>
            <a:ext cx="6261463" cy="1272359"/>
          </a:xfrm>
          <a:prstGeom prst="rect">
            <a:avLst/>
          </a:prstGeom>
        </p:spPr>
      </p:pic>
      <p:sp>
        <p:nvSpPr>
          <p:cNvPr id="5" name="Rechthoek 4"/>
          <p:cNvSpPr/>
          <p:nvPr/>
        </p:nvSpPr>
        <p:spPr>
          <a:xfrm>
            <a:off x="6113417" y="-242"/>
            <a:ext cx="6113883" cy="1541660"/>
          </a:xfrm>
          <a:prstGeom prst="rect">
            <a:avLst/>
          </a:prstGeom>
          <a:solidFill>
            <a:srgbClr val="F7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kstvak 6"/>
          <p:cNvSpPr txBox="1"/>
          <p:nvPr/>
        </p:nvSpPr>
        <p:spPr>
          <a:xfrm>
            <a:off x="0" y="1159729"/>
            <a:ext cx="12227300" cy="580928"/>
          </a:xfrm>
          <a:prstGeom prst="rect">
            <a:avLst/>
          </a:prstGeom>
          <a:solidFill>
            <a:srgbClr val="820000"/>
          </a:solidFill>
          <a:ln w="76200"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aramond" panose="02020404030301010803" pitchFamily="18" charset="0"/>
              <a:ea typeface="+mn-ea"/>
              <a:cs typeface="+mn-cs"/>
            </a:endParaRPr>
          </a:p>
        </p:txBody>
      </p:sp>
      <p:sp>
        <p:nvSpPr>
          <p:cNvPr id="8" name="Rechthoek 7"/>
          <p:cNvSpPr/>
          <p:nvPr/>
        </p:nvSpPr>
        <p:spPr>
          <a:xfrm>
            <a:off x="0" y="6762201"/>
            <a:ext cx="12192000" cy="104508"/>
          </a:xfrm>
          <a:prstGeom prst="rect">
            <a:avLst/>
          </a:prstGeom>
          <a:solidFill>
            <a:srgbClr val="820000"/>
          </a:solidFill>
          <a:ln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7" name="Afbeelding 16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128" t="10859" r="29179" b="42807"/>
          <a:stretch/>
        </p:blipFill>
        <p:spPr>
          <a:xfrm>
            <a:off x="-1" y="6298562"/>
            <a:ext cx="1549269" cy="463639"/>
          </a:xfrm>
          <a:prstGeom prst="rect">
            <a:avLst/>
          </a:prstGeom>
        </p:spPr>
      </p:pic>
      <p:pic>
        <p:nvPicPr>
          <p:cNvPr id="10" name="Afbeelding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128" t="10859" r="29179" b="42807"/>
          <a:stretch/>
        </p:blipFill>
        <p:spPr>
          <a:xfrm>
            <a:off x="-1" y="6298562"/>
            <a:ext cx="1549269" cy="463639"/>
          </a:xfrm>
          <a:prstGeom prst="rect">
            <a:avLst/>
          </a:prstGeom>
        </p:spPr>
      </p:pic>
      <p:sp>
        <p:nvSpPr>
          <p:cNvPr id="11" name="Rechthoek 10"/>
          <p:cNvSpPr/>
          <p:nvPr/>
        </p:nvSpPr>
        <p:spPr>
          <a:xfrm>
            <a:off x="0" y="6762201"/>
            <a:ext cx="12192000" cy="104508"/>
          </a:xfrm>
          <a:prstGeom prst="rect">
            <a:avLst/>
          </a:prstGeom>
          <a:solidFill>
            <a:srgbClr val="820000"/>
          </a:solidFill>
          <a:ln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cxnSp>
        <p:nvCxnSpPr>
          <p:cNvPr id="12" name="Straight Connector 12">
            <a:extLst>
              <a:ext uri="{FF2B5EF4-FFF2-40B4-BE49-F238E27FC236}">
                <a16:creationId xmlns:a16="http://schemas.microsoft.com/office/drawing/2014/main" id="{4D25E369-C5AE-4ABA-9CCF-2CF83B8DD8A4}"/>
              </a:ext>
            </a:extLst>
          </p:cNvPr>
          <p:cNvCxnSpPr>
            <a:cxnSpLocks/>
          </p:cNvCxnSpPr>
          <p:nvPr/>
        </p:nvCxnSpPr>
        <p:spPr>
          <a:xfrm flipH="1">
            <a:off x="4200046" y="1424093"/>
            <a:ext cx="1" cy="5338108"/>
          </a:xfrm>
          <a:prstGeom prst="line">
            <a:avLst/>
          </a:prstGeom>
          <a:ln>
            <a:solidFill>
              <a:srgbClr val="82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el 1">
            <a:extLst>
              <a:ext uri="{FF2B5EF4-FFF2-40B4-BE49-F238E27FC236}">
                <a16:creationId xmlns:a16="http://schemas.microsoft.com/office/drawing/2014/main" id="{404D618C-8DC1-4E70-964C-A4D2BDC6C87E}"/>
              </a:ext>
            </a:extLst>
          </p:cNvPr>
          <p:cNvSpPr txBox="1">
            <a:spLocks/>
          </p:cNvSpPr>
          <p:nvPr/>
        </p:nvSpPr>
        <p:spPr>
          <a:xfrm>
            <a:off x="159535" y="1868277"/>
            <a:ext cx="3877903" cy="157381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nl-NL" sz="3200" dirty="0" err="1">
                <a:latin typeface="Garamond" panose="02020404030301010803" pitchFamily="18" charset="0"/>
              </a:rPr>
              <a:t>Overview</a:t>
            </a:r>
            <a:r>
              <a:rPr lang="nl-NL" sz="3200" dirty="0">
                <a:latin typeface="Garamond" panose="02020404030301010803" pitchFamily="18" charset="0"/>
              </a:rPr>
              <a:t> of </a:t>
            </a:r>
            <a:r>
              <a:rPr lang="nl-NL" sz="3200" dirty="0" err="1">
                <a:latin typeface="Garamond" panose="02020404030301010803" pitchFamily="18" charset="0"/>
              </a:rPr>
              <a:t>the</a:t>
            </a:r>
            <a:r>
              <a:rPr lang="nl-NL" sz="3200" dirty="0">
                <a:latin typeface="Garamond" panose="02020404030301010803" pitchFamily="18" charset="0"/>
              </a:rPr>
              <a:t> Speakers </a:t>
            </a:r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31471658-A8A7-4BE1-8395-B84ED09C585E}"/>
              </a:ext>
            </a:extLst>
          </p:cNvPr>
          <p:cNvSpPr txBox="1">
            <a:spLocks/>
          </p:cNvSpPr>
          <p:nvPr/>
        </p:nvSpPr>
        <p:spPr>
          <a:xfrm>
            <a:off x="4284884" y="1630060"/>
            <a:ext cx="7602326" cy="5840217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 </a:t>
            </a:r>
          </a:p>
          <a:p>
            <a:pPr algn="l">
              <a:lnSpc>
                <a:spcPct val="114000"/>
              </a:lnSpc>
              <a:spcBef>
                <a:spcPts val="0"/>
              </a:spcBef>
            </a:pPr>
            <a:r>
              <a:rPr lang="en-AU" sz="1800" b="1" dirty="0">
                <a:solidFill>
                  <a:srgbClr val="820000"/>
                </a:solidFill>
                <a:latin typeface="Garamond" panose="02020404030301010803" pitchFamily="18" charset="0"/>
              </a:rPr>
              <a:t>Sarah Weicksel (Chair): Director of Research and Publications at the American Historical Association, USA</a:t>
            </a:r>
          </a:p>
          <a:p>
            <a:pPr algn="l">
              <a:lnSpc>
                <a:spcPct val="114000"/>
              </a:lnSpc>
              <a:spcBef>
                <a:spcPts val="0"/>
              </a:spcBef>
            </a:pPr>
            <a:endParaRPr lang="en-AU" sz="1800" b="1" dirty="0">
              <a:solidFill>
                <a:srgbClr val="820000"/>
              </a:solidFill>
              <a:latin typeface="Garamond" panose="02020404030301010803" pitchFamily="18" charset="0"/>
            </a:endParaRPr>
          </a:p>
          <a:p>
            <a:pPr algn="l">
              <a:lnSpc>
                <a:spcPct val="114000"/>
              </a:lnSpc>
              <a:spcBef>
                <a:spcPts val="0"/>
              </a:spcBef>
            </a:pPr>
            <a:r>
              <a:rPr lang="en-AU" sz="1800" b="1" dirty="0">
                <a:solidFill>
                  <a:srgbClr val="820000"/>
                </a:solidFill>
                <a:latin typeface="Garamond" panose="02020404030301010803" pitchFamily="18" charset="0"/>
              </a:rPr>
              <a:t>Thomas Alslev Christensen: Senior Vice-President, Impact, Novo Nordisk Foundation, Denmark</a:t>
            </a:r>
          </a:p>
          <a:p>
            <a:pPr algn="l">
              <a:lnSpc>
                <a:spcPct val="114000"/>
              </a:lnSpc>
              <a:spcBef>
                <a:spcPts val="0"/>
              </a:spcBef>
            </a:pPr>
            <a:endParaRPr lang="en-AU" sz="1800" b="1" dirty="0">
              <a:solidFill>
                <a:srgbClr val="820000"/>
              </a:solidFill>
              <a:latin typeface="Garamond" panose="02020404030301010803" pitchFamily="18" charset="0"/>
            </a:endParaRPr>
          </a:p>
          <a:p>
            <a:pPr algn="l">
              <a:lnSpc>
                <a:spcPct val="114000"/>
              </a:lnSpc>
              <a:spcBef>
                <a:spcPts val="0"/>
              </a:spcBef>
            </a:pPr>
            <a:r>
              <a:rPr lang="en-AU" sz="1800" b="1" dirty="0">
                <a:solidFill>
                  <a:srgbClr val="820000"/>
                </a:solidFill>
                <a:latin typeface="Garamond" panose="02020404030301010803" pitchFamily="18" charset="0"/>
              </a:rPr>
              <a:t>Angelika </a:t>
            </a:r>
            <a:r>
              <a:rPr lang="en-AU" sz="1800" b="1" dirty="0" err="1">
                <a:solidFill>
                  <a:srgbClr val="820000"/>
                </a:solidFill>
                <a:latin typeface="Garamond" panose="02020404030301010803" pitchFamily="18" charset="0"/>
              </a:rPr>
              <a:t>Zelisko</a:t>
            </a:r>
            <a:r>
              <a:rPr lang="en-AU" sz="1800" b="1" dirty="0">
                <a:solidFill>
                  <a:srgbClr val="820000"/>
                </a:solidFill>
                <a:latin typeface="Garamond" panose="02020404030301010803" pitchFamily="18" charset="0"/>
              </a:rPr>
              <a:t> &amp; Tobias </a:t>
            </a:r>
            <a:r>
              <a:rPr lang="en-AU" sz="1800" b="1" dirty="0" err="1">
                <a:solidFill>
                  <a:srgbClr val="820000"/>
                </a:solidFill>
                <a:latin typeface="Garamond" panose="02020404030301010803" pitchFamily="18" charset="0"/>
              </a:rPr>
              <a:t>Reckling</a:t>
            </a:r>
            <a:r>
              <a:rPr lang="en-AU" sz="1800" b="1" dirty="0">
                <a:solidFill>
                  <a:srgbClr val="820000"/>
                </a:solidFill>
                <a:latin typeface="Garamond" panose="02020404030301010803" pitchFamily="18" charset="0"/>
              </a:rPr>
              <a:t>: ‘Innovation Matters’ project, University of Applied Arts Vienna &amp; University of Vienna, Austria</a:t>
            </a:r>
            <a:endParaRPr lang="en-US" sz="1600" b="1" dirty="0">
              <a:solidFill>
                <a:srgbClr val="820000"/>
              </a:solidFill>
              <a:latin typeface="Garamond" panose="02020404030301010803" pitchFamily="18" charset="0"/>
            </a:endParaRPr>
          </a:p>
          <a:p>
            <a:pPr algn="l">
              <a:lnSpc>
                <a:spcPct val="114000"/>
              </a:lnSpc>
              <a:spcBef>
                <a:spcPts val="0"/>
              </a:spcBef>
            </a:pPr>
            <a:endParaRPr lang="en-US" sz="1600" b="1" dirty="0">
              <a:solidFill>
                <a:srgbClr val="820000"/>
              </a:solidFill>
              <a:latin typeface="Garamond" panose="02020404030301010803" pitchFamily="18" charset="0"/>
            </a:endParaRPr>
          </a:p>
          <a:p>
            <a:pPr algn="l">
              <a:lnSpc>
                <a:spcPct val="114000"/>
              </a:lnSpc>
              <a:spcBef>
                <a:spcPts val="0"/>
              </a:spcBef>
            </a:pPr>
            <a:endParaRPr lang="en-US" sz="1600" b="1" dirty="0">
              <a:solidFill>
                <a:srgbClr val="820000"/>
              </a:solidFill>
              <a:latin typeface="Garamond" panose="02020404030301010803" pitchFamily="18" charset="0"/>
            </a:endParaRPr>
          </a:p>
          <a:p>
            <a:pPr algn="l">
              <a:lnSpc>
                <a:spcPct val="114000"/>
              </a:lnSpc>
              <a:spcBef>
                <a:spcPts val="0"/>
              </a:spcBef>
            </a:pPr>
            <a:endParaRPr lang="en-US" sz="1600" b="1" dirty="0">
              <a:solidFill>
                <a:srgbClr val="820000"/>
              </a:solidFill>
              <a:latin typeface="Garamond" panose="02020404030301010803" pitchFamily="18" charset="0"/>
            </a:endParaRPr>
          </a:p>
          <a:p>
            <a:pPr algn="l">
              <a:lnSpc>
                <a:spcPct val="114000"/>
              </a:lnSpc>
              <a:spcBef>
                <a:spcPts val="0"/>
              </a:spcBef>
            </a:pPr>
            <a:endParaRPr lang="en-US" sz="1600" b="1" dirty="0">
              <a:solidFill>
                <a:srgbClr val="820000"/>
              </a:solidFill>
              <a:latin typeface="Garamond" panose="02020404030301010803" pitchFamily="18" charset="0"/>
            </a:endParaRPr>
          </a:p>
          <a:p>
            <a:pPr algn="l">
              <a:lnSpc>
                <a:spcPct val="114000"/>
              </a:lnSpc>
              <a:spcBef>
                <a:spcPts val="0"/>
              </a:spcBef>
            </a:pPr>
            <a:endParaRPr lang="en-US" sz="1600" b="1" dirty="0">
              <a:solidFill>
                <a:srgbClr val="820000"/>
              </a:solidFill>
              <a:latin typeface="Garamond" panose="02020404030301010803" pitchFamily="18" charset="0"/>
            </a:endParaRPr>
          </a:p>
          <a:p>
            <a:pPr algn="l">
              <a:lnSpc>
                <a:spcPct val="114000"/>
              </a:lnSpc>
              <a:spcBef>
                <a:spcPts val="0"/>
              </a:spcBef>
            </a:pPr>
            <a:endParaRPr lang="en-US" sz="1700" b="1" dirty="0">
              <a:solidFill>
                <a:prstClr val="white">
                  <a:lumMod val="50000"/>
                </a:prstClr>
              </a:solidFill>
              <a:latin typeface="Garamond" panose="02020404030301010803" pitchFamily="18" charset="0"/>
            </a:endParaRPr>
          </a:p>
        </p:txBody>
      </p:sp>
      <p:sp>
        <p:nvSpPr>
          <p:cNvPr id="19" name="Tekstvak 5">
            <a:extLst>
              <a:ext uri="{FF2B5EF4-FFF2-40B4-BE49-F238E27FC236}">
                <a16:creationId xmlns:a16="http://schemas.microsoft.com/office/drawing/2014/main" id="{70E62050-A28B-4126-8D0F-059115A45AA4}"/>
              </a:ext>
            </a:extLst>
          </p:cNvPr>
          <p:cNvSpPr txBox="1">
            <a:spLocks/>
          </p:cNvSpPr>
          <p:nvPr/>
        </p:nvSpPr>
        <p:spPr>
          <a:xfrm>
            <a:off x="4521200" y="120802"/>
            <a:ext cx="76708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r"/>
            <a:r>
              <a:rPr lang="en-US" sz="2400" dirty="0">
                <a:solidFill>
                  <a:srgbClr val="820000"/>
                </a:solidFill>
                <a:latin typeface="Garamond" panose="02020404030301010803" pitchFamily="18" charset="0"/>
              </a:rPr>
              <a:t>Impact of Social Sciences, Humanities and Arts </a:t>
            </a:r>
          </a:p>
          <a:p>
            <a:pPr lvl="0" algn="r"/>
            <a:r>
              <a:rPr lang="en-US" sz="2000" dirty="0">
                <a:solidFill>
                  <a:prstClr val="black"/>
                </a:solidFill>
                <a:latin typeface="Garamond" panose="02020404030301010803" pitchFamily="18" charset="0"/>
              </a:rPr>
              <a:t>13-15 October, 2021</a:t>
            </a:r>
          </a:p>
          <a:p>
            <a:pPr lvl="0" algn="r"/>
            <a:endParaRPr lang="en-US" sz="2000" dirty="0">
              <a:solidFill>
                <a:prstClr val="black"/>
              </a:solidFill>
              <a:latin typeface="Garamond" panose="02020404030301010803" pitchFamily="18" charset="0"/>
            </a:endParaRPr>
          </a:p>
        </p:txBody>
      </p:sp>
      <p:sp>
        <p:nvSpPr>
          <p:cNvPr id="22" name="Tekstvak 14">
            <a:extLst>
              <a:ext uri="{FF2B5EF4-FFF2-40B4-BE49-F238E27FC236}">
                <a16:creationId xmlns:a16="http://schemas.microsoft.com/office/drawing/2014/main" id="{1185129F-A4DB-4302-A212-19D3111E1A32}"/>
              </a:ext>
            </a:extLst>
          </p:cNvPr>
          <p:cNvSpPr txBox="1"/>
          <p:nvPr/>
        </p:nvSpPr>
        <p:spPr>
          <a:xfrm>
            <a:off x="9620834" y="6234477"/>
            <a:ext cx="247827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l-NL" sz="2400" b="1" dirty="0">
                <a:latin typeface="Garamond" panose="02020404030301010803" pitchFamily="18" charset="0"/>
              </a:rPr>
              <a:t>#SSHA21</a:t>
            </a:r>
          </a:p>
          <a:p>
            <a:pPr algn="r"/>
            <a:endParaRPr lang="nl-NL" sz="2400" b="1" dirty="0">
              <a:latin typeface="Garamond" panose="02020404030301010803" pitchFamily="18" charset="0"/>
            </a:endParaRPr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17CD1743-BE5D-44FC-8A0F-4602AF6E21B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420" y="3133762"/>
            <a:ext cx="1998416" cy="2826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384061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5B25C77E-0BE4-4103-8D7E-E6575A239BA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3591" y="1845734"/>
            <a:ext cx="2847610" cy="4267148"/>
          </a:xfrm>
          <a:prstGeom prst="rect">
            <a:avLst/>
          </a:prstGeom>
        </p:spPr>
      </p:pic>
      <p:sp>
        <p:nvSpPr>
          <p:cNvPr id="7" name="Inhaltsplatzhalter 2"/>
          <p:cNvSpPr txBox="1">
            <a:spLocks/>
          </p:cNvSpPr>
          <p:nvPr/>
        </p:nvSpPr>
        <p:spPr>
          <a:xfrm>
            <a:off x="4325385" y="1845734"/>
            <a:ext cx="7579067" cy="402336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91440" marR="0" lvl="0" indent="-9144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1CADE4"/>
              </a:buClr>
              <a:buSzPct val="100000"/>
              <a:buFont typeface="Calibri" panose="020F0502020204030204" pitchFamily="34" charset="0"/>
              <a:buChar char=" "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385741B2-0200-46DD-920D-197CC9F36CA8}"/>
              </a:ext>
            </a:extLst>
          </p:cNvPr>
          <p:cNvSpPr txBox="1">
            <a:spLocks/>
          </p:cNvSpPr>
          <p:nvPr/>
        </p:nvSpPr>
        <p:spPr>
          <a:xfrm>
            <a:off x="428220" y="317794"/>
            <a:ext cx="11895667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80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0" b="0" i="0" u="none" strike="noStrike" kern="1200" cap="none" spc="-5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INNOVATION MATTERS:</a:t>
            </a:r>
            <a:br>
              <a:rPr kumimoji="0" lang="de-DE" sz="4000" b="0" i="0" u="none" strike="noStrike" kern="1200" cap="none" spc="-5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</a:br>
            <a:r>
              <a:rPr kumimoji="0" lang="de-DE" sz="4000" b="0" i="0" u="none" strike="noStrike" kern="1200" cap="none" spc="-5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Networks</a:t>
            </a:r>
          </a:p>
        </p:txBody>
      </p:sp>
      <p:sp>
        <p:nvSpPr>
          <p:cNvPr id="10" name="Inhaltsplatzhalter 2"/>
          <p:cNvSpPr txBox="1">
            <a:spLocks/>
          </p:cNvSpPr>
          <p:nvPr/>
        </p:nvSpPr>
        <p:spPr>
          <a:xfrm>
            <a:off x="1193996" y="1845734"/>
            <a:ext cx="4732351" cy="402336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91440" marR="0" lvl="0" indent="-9144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1CADE4"/>
              </a:buClr>
              <a:buSzPct val="100000"/>
              <a:buFont typeface="Calibri" panose="020F0502020204030204" pitchFamily="34" charset="0"/>
              <a:buChar char=" "/>
              <a:tabLst/>
              <a:defRPr/>
            </a:pP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hat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im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stablishment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f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b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er-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d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nsdisciplinary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nowledge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change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tworks</a:t>
            </a:r>
            <a:endParaRPr kumimoji="0" lang="de-DE" sz="2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91440" marR="0" lvl="0" indent="-9144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1CADE4"/>
              </a:buClr>
              <a:buSzPct val="100000"/>
              <a:buFont typeface="Calibri" panose="020F0502020204030204" pitchFamily="34" charset="0"/>
              <a:buChar char=" "/>
              <a:tabLst/>
              <a:defRPr/>
            </a:pP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w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‘re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ying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t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ceptualization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d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ganization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f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mall-scale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inter-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d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b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nsdiscplinary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tworking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vents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n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pecific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pics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; on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vitation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ly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marL="91440" marR="0" lvl="0" indent="-9144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1CADE4"/>
              </a:buClr>
              <a:buSzPct val="100000"/>
              <a:buFont typeface="Calibri" panose="020F0502020204030204" pitchFamily="34" charset="0"/>
              <a:buChar char=" "/>
              <a:tabLst/>
              <a:defRPr/>
            </a:pP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amples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</a:t>
            </a:r>
            <a:b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search Salon #9 (2021): 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vironment</a:t>
            </a:r>
            <a:b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volving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searchers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rom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x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iversities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rom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ifferent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sciplines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lus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cal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keholders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d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cticioners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City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f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ienna,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imate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lliance Austria)</a:t>
            </a:r>
            <a:endParaRPr kumimoji="0" lang="de-DE" sz="20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highlight>
                <a:srgbClr val="FFFF00"/>
              </a:highlight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91440" marR="0" lvl="0" indent="-9144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1CADE4"/>
              </a:buClr>
              <a:buSzPct val="100000"/>
              <a:buFont typeface="Calibri" panose="020F0502020204030204" pitchFamily="34" charset="0"/>
              <a:buChar char=" "/>
              <a:tabLst/>
              <a:defRPr/>
            </a:pPr>
            <a:endParaRPr kumimoji="0" lang="de-DE" sz="2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3422745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>
            <a:extLst>
              <a:ext uri="{FF2B5EF4-FFF2-40B4-BE49-F238E27FC236}">
                <a16:creationId xmlns:a16="http://schemas.microsoft.com/office/drawing/2014/main" id="{385741B2-0200-46DD-920D-197CC9F36CA8}"/>
              </a:ext>
            </a:extLst>
          </p:cNvPr>
          <p:cNvSpPr txBox="1">
            <a:spLocks/>
          </p:cNvSpPr>
          <p:nvPr/>
        </p:nvSpPr>
        <p:spPr>
          <a:xfrm>
            <a:off x="428220" y="317794"/>
            <a:ext cx="11895667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80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0" b="0" i="0" u="none" strike="noStrike" kern="1200" cap="none" spc="-5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INNOVATION MATTERS:</a:t>
            </a:r>
            <a:br>
              <a:rPr kumimoji="0" lang="de-DE" sz="4000" b="0" i="0" u="none" strike="noStrike" kern="1200" cap="none" spc="-5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</a:br>
            <a:r>
              <a:rPr kumimoji="0" lang="de-DE" sz="4000" b="0" i="0" u="none" strike="noStrike" kern="1200" cap="none" spc="-5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Networks – Research Salon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6764963C-1FED-46A2-8B8E-FB44462CB3B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0150" y="1855648"/>
            <a:ext cx="5182154" cy="3458224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5567" y="1909079"/>
            <a:ext cx="2729124" cy="2047047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51C9021A-E31C-4210-AFB0-F71731DF3A43}"/>
              </a:ext>
            </a:extLst>
          </p:cNvPr>
          <p:cNvSpPr txBox="1"/>
          <p:nvPr/>
        </p:nvSpPr>
        <p:spPr>
          <a:xfrm>
            <a:off x="1184411" y="4283929"/>
            <a:ext cx="751147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search Salon #5 “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alth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d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Care”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search Salon #8 “Education. 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spectives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allenges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novations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”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highlight>
                <a:srgbClr val="FFFF00"/>
              </a:highligh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7878097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>
            <a:extLst>
              <a:ext uri="{FF2B5EF4-FFF2-40B4-BE49-F238E27FC236}">
                <a16:creationId xmlns:a16="http://schemas.microsoft.com/office/drawing/2014/main" id="{385741B2-0200-46DD-920D-197CC9F36CA8}"/>
              </a:ext>
            </a:extLst>
          </p:cNvPr>
          <p:cNvSpPr txBox="1">
            <a:spLocks/>
          </p:cNvSpPr>
          <p:nvPr/>
        </p:nvSpPr>
        <p:spPr>
          <a:xfrm>
            <a:off x="428220" y="317794"/>
            <a:ext cx="11895667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80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0" b="0" i="0" u="none" strike="noStrike" kern="1200" cap="none" spc="-5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INNOVATION MATTERS:</a:t>
            </a:r>
            <a:br>
              <a:rPr kumimoji="0" lang="de-DE" sz="4000" b="0" i="0" u="none" strike="noStrike" kern="1200" cap="none" spc="-5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</a:br>
            <a:r>
              <a:rPr kumimoji="0" lang="de-DE" sz="4000" b="0" i="0" u="none" strike="noStrike" kern="1200" cap="none" spc="-5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Networks – Research Salon</a:t>
            </a:r>
          </a:p>
        </p:txBody>
      </p:sp>
      <p:sp>
        <p:nvSpPr>
          <p:cNvPr id="8" name="Inhaltsplatzhalter 2"/>
          <p:cNvSpPr txBox="1">
            <a:spLocks/>
          </p:cNvSpPr>
          <p:nvPr/>
        </p:nvSpPr>
        <p:spPr>
          <a:xfrm>
            <a:off x="1193996" y="1845734"/>
            <a:ext cx="7518683" cy="4382538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91440" marR="0" lvl="0" indent="-9144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1CADE4"/>
              </a:buClr>
              <a:buSzPct val="100000"/>
              <a:buFont typeface="Calibri" panose="020F0502020204030204" pitchFamily="34" charset="0"/>
              <a:buChar char=" "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search Salon #5 (2019, on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te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: “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alth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d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Care”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b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volving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searchers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rom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x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iversities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rom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ifferent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sciplines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rts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chnology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fe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iences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SSH ...) plus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cal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keholder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d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cticioners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e.g.: Board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f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rustees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f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ennese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tirement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mes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City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f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ienna, Caritas Care Unit)</a:t>
            </a:r>
          </a:p>
          <a:p>
            <a:pPr marL="91440" marR="0" lvl="0" indent="-9144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1CADE4"/>
              </a:buClr>
              <a:buSzPct val="100000"/>
              <a:buFont typeface="Calibri" panose="020F0502020204030204" pitchFamily="34" charset="0"/>
              <a:buChar char=" "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search Salon #8 (May 2021,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rtual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mat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: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b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“Education.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spectives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allenges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novations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”</a:t>
            </a:r>
            <a:b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volving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searchers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rom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ven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iversities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d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iversities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f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plied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iences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rom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ifferent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sciplines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forming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rts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plied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rts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fe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iences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chnology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 plus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cal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keholder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d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cticioners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e.g.: ZOOM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ildren‘s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useum, Austrian Institute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chool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d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ports Facility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struction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amber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f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Labour)</a:t>
            </a:r>
          </a:p>
          <a:p>
            <a:pPr marL="91440" marR="0" lvl="0" indent="-9144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1CADE4"/>
              </a:buClr>
              <a:buSzPct val="100000"/>
              <a:buFont typeface="Calibri" panose="020F0502020204030204" pitchFamily="34" charset="0"/>
              <a:buChar char=" "/>
              <a:tabLst/>
              <a:defRPr/>
            </a:pPr>
            <a:endParaRPr kumimoji="0" lang="de-DE" sz="2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highlight>
                <a:srgbClr val="FFFF00"/>
              </a:highligh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4998733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1F58DCAC-C718-4D47-AA71-A07C577D485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1879" y="1845734"/>
            <a:ext cx="5290868" cy="2976113"/>
          </a:xfrm>
          <a:prstGeom prst="rect">
            <a:avLst/>
          </a:prstGeom>
        </p:spPr>
      </p:pic>
      <p:sp>
        <p:nvSpPr>
          <p:cNvPr id="5" name="Inhaltsplatzhalter 2"/>
          <p:cNvSpPr txBox="1">
            <a:spLocks/>
          </p:cNvSpPr>
          <p:nvPr/>
        </p:nvSpPr>
        <p:spPr>
          <a:xfrm>
            <a:off x="1193996" y="1845734"/>
            <a:ext cx="4637461" cy="402336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91440" marR="0" lvl="0" indent="-9144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1CADE4"/>
              </a:buClr>
              <a:buSzPct val="100000"/>
              <a:buFont typeface="Calibri" panose="020F0502020204030204" pitchFamily="34" charset="0"/>
              <a:buChar char=" 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hat we aim for: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munication / teaching of open science and open innovation methods for scientists </a:t>
            </a: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d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actitioners</a:t>
            </a:r>
          </a:p>
          <a:p>
            <a:pPr marL="91440" marR="0" lvl="0" indent="-9144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1CADE4"/>
              </a:buClr>
              <a:buSzPct val="100000"/>
              <a:buFont typeface="Calibri" panose="020F0502020204030204" pitchFamily="34" charset="0"/>
              <a:buChar char=" "/>
              <a:tabLst/>
              <a:defRPr/>
            </a:pP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w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‘re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ying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t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llowing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esearch Salon,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ganization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f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ry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pic-specific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nds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on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orkshops</a:t>
            </a:r>
            <a:endParaRPr kumimoji="0" lang="de-DE" sz="2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91440" marR="0" lvl="0" indent="-9144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1CADE4"/>
              </a:buClr>
              <a:buSzPct val="100000"/>
              <a:buFont typeface="Calibri" panose="020F0502020204030204" pitchFamily="34" charset="0"/>
              <a:buChar char=" "/>
              <a:tabLst/>
              <a:defRPr/>
            </a:pP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ample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</a:t>
            </a:r>
          </a:p>
          <a:p>
            <a:pPr marL="91440" marR="0" lvl="0" indent="-9144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1CADE4"/>
              </a:buClr>
              <a:buSzPct val="100000"/>
              <a:buFont typeface="Calibri" panose="020F0502020204030204" pitchFamily="34" charset="0"/>
              <a:buChar char=" 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pcoming: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en Science Methods &amp; Environmental Research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91440" marR="0" lvl="0" indent="-9144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1CADE4"/>
              </a:buClr>
              <a:buSzPct val="100000"/>
              <a:buFont typeface="Calibri" panose="020F0502020204030204" pitchFamily="34" charset="0"/>
              <a:buChar char=" 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st: i.e.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nseBox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– Citizen Science with Open Hardware and Open Data for SDG11</a:t>
            </a:r>
            <a:endParaRPr kumimoji="0" lang="de-DE" sz="2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385741B2-0200-46DD-920D-197CC9F36CA8}"/>
              </a:ext>
            </a:extLst>
          </p:cNvPr>
          <p:cNvSpPr txBox="1">
            <a:spLocks/>
          </p:cNvSpPr>
          <p:nvPr/>
        </p:nvSpPr>
        <p:spPr>
          <a:xfrm>
            <a:off x="428220" y="317794"/>
            <a:ext cx="11895667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80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0" b="0" i="0" u="none" strike="noStrike" kern="1200" cap="none" spc="-5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INNOVATION MATTERS:</a:t>
            </a:r>
            <a:br>
              <a:rPr kumimoji="0" lang="de-DE" sz="4000" b="0" i="0" u="none" strike="noStrike" kern="1200" cap="none" spc="-5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</a:br>
            <a:r>
              <a:rPr kumimoji="0" lang="de-DE" sz="4000" b="0" i="0" u="none" strike="noStrike" kern="1200" cap="none" spc="-5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Methods</a:t>
            </a:r>
            <a:endParaRPr kumimoji="0" lang="de-DE" sz="4000" b="0" i="0" u="none" strike="noStrike" kern="1200" cap="none" spc="-5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83698855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>
            <a:extLst>
              <a:ext uri="{FF2B5EF4-FFF2-40B4-BE49-F238E27FC236}">
                <a16:creationId xmlns:a16="http://schemas.microsoft.com/office/drawing/2014/main" id="{385741B2-0200-46DD-920D-197CC9F36CA8}"/>
              </a:ext>
            </a:extLst>
          </p:cNvPr>
          <p:cNvSpPr txBox="1">
            <a:spLocks/>
          </p:cNvSpPr>
          <p:nvPr/>
        </p:nvSpPr>
        <p:spPr>
          <a:xfrm>
            <a:off x="428220" y="317794"/>
            <a:ext cx="11895667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80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0" b="0" i="0" u="none" strike="noStrike" kern="1200" cap="none" spc="-5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INNOVATION MATTERS:</a:t>
            </a:r>
            <a:br>
              <a:rPr kumimoji="0" lang="de-DE" sz="4000" b="0" i="0" u="none" strike="noStrike" kern="1200" cap="none" spc="-5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</a:br>
            <a:r>
              <a:rPr kumimoji="0" lang="de-DE" sz="4000" b="0" i="0" u="none" strike="noStrike" kern="1200" cap="none" spc="-5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Transfer</a:t>
            </a:r>
          </a:p>
        </p:txBody>
      </p:sp>
      <p:sp>
        <p:nvSpPr>
          <p:cNvPr id="8" name="Inhaltsplatzhalter 2"/>
          <p:cNvSpPr txBox="1">
            <a:spLocks/>
          </p:cNvSpPr>
          <p:nvPr/>
        </p:nvSpPr>
        <p:spPr>
          <a:xfrm>
            <a:off x="1193996" y="1845734"/>
            <a:ext cx="4637461" cy="402336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91440" marR="0" lvl="0" indent="-9144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1CADE4"/>
              </a:buClr>
              <a:buSzPct val="100000"/>
              <a:buFont typeface="Calibri" panose="020F0502020204030204" pitchFamily="34" charset="0"/>
              <a:buChar char=" 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hat we aim for: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llowing the establishment of networks and the methods workshops… to make transfer happen.</a:t>
            </a:r>
          </a:p>
          <a:p>
            <a:pPr marL="91440" marR="0" lvl="0" indent="-9144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1CADE4"/>
              </a:buClr>
              <a:buSzPct val="100000"/>
              <a:buFont typeface="Calibri" panose="020F0502020204030204" pitchFamily="34" charset="0"/>
              <a:buChar char=" 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w we’re trying to do it: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velopment of transfer / knowledge exchange pilots</a:t>
            </a:r>
          </a:p>
          <a:p>
            <a:pPr marL="91440" marR="0" lvl="0" indent="-9144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1CADE4"/>
              </a:buClr>
              <a:buSzPct val="100000"/>
              <a:buFont typeface="Calibri" panose="020F0502020204030204" pitchFamily="34" charset="0"/>
              <a:buChar char=" 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amples:</a:t>
            </a:r>
          </a:p>
          <a:p>
            <a:pPr marL="91440" marR="0" lvl="0" indent="-9144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1CADE4"/>
              </a:buClr>
              <a:buSzPct val="100000"/>
              <a:buFont typeface="Calibri" panose="020F0502020204030204" pitchFamily="34" charset="0"/>
              <a:buChar char=" 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line Open Science Shop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University of Veterinary Medicine, Vienna)</a:t>
            </a:r>
          </a:p>
          <a:p>
            <a:pPr marL="91440" marR="0" lvl="0" indent="-9144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1CADE4"/>
              </a:buClr>
              <a:buSzPct val="100000"/>
              <a:buFont typeface="Calibri" panose="020F0502020204030204" pitchFamily="34" charset="0"/>
              <a:buChar char=" "/>
              <a:tabLst/>
              <a:defRPr/>
            </a:pP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ckathon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Digital Solutions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cietal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allenges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– Environment &amp; Mobility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79B70672-197B-4D43-947A-DAF92145DCE0}"/>
              </a:ext>
            </a:extLst>
          </p:cNvPr>
          <p:cNvPicPr/>
          <p:nvPr/>
        </p:nvPicPr>
        <p:blipFill>
          <a:blip r:embed="rId2"/>
          <a:stretch/>
        </p:blipFill>
        <p:spPr>
          <a:xfrm>
            <a:off x="7229783" y="1845734"/>
            <a:ext cx="3275280" cy="327528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9993616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>
            <a:extLst>
              <a:ext uri="{FF2B5EF4-FFF2-40B4-BE49-F238E27FC236}">
                <a16:creationId xmlns:a16="http://schemas.microsoft.com/office/drawing/2014/main" id="{385741B2-0200-46DD-920D-197CC9F36CA8}"/>
              </a:ext>
            </a:extLst>
          </p:cNvPr>
          <p:cNvSpPr txBox="1">
            <a:spLocks/>
          </p:cNvSpPr>
          <p:nvPr/>
        </p:nvSpPr>
        <p:spPr>
          <a:xfrm>
            <a:off x="428220" y="317794"/>
            <a:ext cx="11895667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80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0" b="0" i="0" u="none" strike="noStrike" kern="1200" cap="none" spc="-5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HACKATHON: Digital Solutions </a:t>
            </a:r>
            <a:r>
              <a:rPr kumimoji="0" lang="de-DE" sz="4000" b="0" i="0" u="none" strike="noStrike" kern="1200" cap="none" spc="-5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for</a:t>
            </a:r>
            <a:r>
              <a:rPr kumimoji="0" lang="de-DE" sz="4000" b="0" i="0" u="none" strike="noStrike" kern="1200" cap="none" spc="-5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 </a:t>
            </a:r>
            <a:r>
              <a:rPr kumimoji="0" lang="de-DE" sz="4000" b="0" i="0" u="none" strike="noStrike" kern="1200" cap="none" spc="-5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Societal</a:t>
            </a:r>
            <a:r>
              <a:rPr kumimoji="0" lang="de-DE" sz="4000" b="0" i="0" u="none" strike="noStrike" kern="1200" cap="none" spc="-5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 </a:t>
            </a:r>
            <a:br>
              <a:rPr kumimoji="0" lang="de-DE" sz="4000" b="0" i="0" u="none" strike="noStrike" kern="1200" cap="none" spc="-5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</a:br>
            <a:r>
              <a:rPr kumimoji="0" lang="de-DE" sz="4000" b="0" i="0" u="none" strike="noStrike" kern="1200" cap="none" spc="-5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Challenges</a:t>
            </a:r>
            <a:r>
              <a:rPr kumimoji="0" lang="de-DE" sz="4000" b="0" i="0" u="none" strike="noStrike" kern="1200" cap="none" spc="-5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 – Environment &amp; Mobility</a:t>
            </a:r>
          </a:p>
        </p:txBody>
      </p:sp>
      <p:sp>
        <p:nvSpPr>
          <p:cNvPr id="8" name="Inhaltsplatzhalter 2"/>
          <p:cNvSpPr txBox="1">
            <a:spLocks/>
          </p:cNvSpPr>
          <p:nvPr/>
        </p:nvSpPr>
        <p:spPr>
          <a:xfrm>
            <a:off x="1193996" y="1845734"/>
            <a:ext cx="4637461" cy="402336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91440" marR="0" lvl="0" indent="-9144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1CADE4"/>
              </a:buClr>
              <a:buSzPct val="100000"/>
              <a:buFont typeface="Calibri" panose="020F0502020204030204" pitchFamily="34" charset="0"/>
              <a:buChar char=" "/>
              <a:tabLst/>
              <a:defRPr/>
            </a:pP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im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velopment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f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igital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rticipatory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totypes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cietal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allenges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y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erdisciplinary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ams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91440" marR="0" lvl="0" indent="-9144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1CADE4"/>
              </a:buClr>
              <a:buSzPct val="100000"/>
              <a:buFont typeface="Calibri" panose="020F0502020204030204" pitchFamily="34" charset="0"/>
              <a:buChar char=" "/>
              <a:tabLst/>
              <a:defRPr/>
            </a:pP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allenges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-defined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allenges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y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City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f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ienna incl. (open)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ts</a:t>
            </a:r>
            <a:endParaRPr kumimoji="0" lang="de-DE" sz="2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91440" marR="0" lvl="0" indent="-9144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1CADE4"/>
              </a:buClr>
              <a:buSzPct val="100000"/>
              <a:buFont typeface="Calibri" panose="020F0502020204030204" pitchFamily="34" charset="0"/>
              <a:buChar char=" "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ntors: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perts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rom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City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f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ienna </a:t>
            </a:r>
          </a:p>
          <a:p>
            <a:pPr marL="91440" marR="0" lvl="0" indent="-9144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1CADE4"/>
              </a:buClr>
              <a:buSzPct val="100000"/>
              <a:buFont typeface="Calibri" panose="020F0502020204030204" pitchFamily="34" charset="0"/>
              <a:buChar char=" "/>
              <a:tabLst/>
              <a:defRPr/>
            </a:pP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operation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rtners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.e. City </a:t>
            </a:r>
            <a:r>
              <a:rPr kumimoji="0" lang="de-DE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f</a:t>
            </a: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ienna, NGO SDG Watch Austria, Start-Ups, Digital City Vienna, Urban Innovation Vienna</a:t>
            </a:r>
          </a:p>
        </p:txBody>
      </p:sp>
      <p:pic>
        <p:nvPicPr>
          <p:cNvPr id="11" name="Inhaltsplatzhalter 8"/>
          <p:cNvPicPr>
            <a:picLocks noGrp="1" noChangeAspect="1"/>
          </p:cNvPicPr>
          <p:nvPr>
            <p:ph sz="half" idx="4294967295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1879" y="1845734"/>
            <a:ext cx="5290868" cy="3511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371864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E5270E0-AD56-47AE-8A50-61361C0AC1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84427" y="1845777"/>
            <a:ext cx="4979174" cy="3011583"/>
          </a:xfrm>
        </p:spPr>
        <p:txBody>
          <a:bodyPr>
            <a:normAutofit/>
          </a:bodyPr>
          <a:lstStyle/>
          <a:p>
            <a: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 sz="2400" b="1" dirty="0"/>
              <a:t>Angelika Zelisko</a:t>
            </a:r>
            <a:br>
              <a:rPr lang="de-DE" sz="2400" b="1" dirty="0"/>
            </a:br>
            <a:r>
              <a:rPr lang="de-DE" sz="2400" dirty="0"/>
              <a:t>angelika.zelisko@uni-ak.ac.at</a:t>
            </a:r>
          </a:p>
          <a:p>
            <a: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de-DE" sz="2400" b="1" dirty="0"/>
          </a:p>
          <a:p>
            <a: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 sz="2400" dirty="0"/>
              <a:t>Project Co-Lead </a:t>
            </a:r>
            <a:br>
              <a:rPr lang="de-DE" sz="2400" dirty="0"/>
            </a:br>
            <a:r>
              <a:rPr lang="de-DE" sz="2400" dirty="0">
                <a:hlinkClick r:id="rId2"/>
              </a:rPr>
              <a:t>Innovation </a:t>
            </a:r>
            <a:r>
              <a:rPr lang="de-DE" sz="2400" dirty="0" err="1">
                <a:hlinkClick r:id="rId2"/>
              </a:rPr>
              <a:t>Matters</a:t>
            </a:r>
            <a:endParaRPr lang="de-DE" sz="2400" dirty="0"/>
          </a:p>
          <a:p>
            <a: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de-DE" sz="2400" dirty="0"/>
          </a:p>
          <a:p>
            <a: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de-DE" sz="2400" dirty="0"/>
          </a:p>
          <a:p>
            <a: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de-DE" sz="2400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661D5954-356F-4782-A953-6FB114EC104D}"/>
              </a:ext>
            </a:extLst>
          </p:cNvPr>
          <p:cNvSpPr txBox="1"/>
          <p:nvPr/>
        </p:nvSpPr>
        <p:spPr>
          <a:xfrm>
            <a:off x="5755133" y="1845777"/>
            <a:ext cx="6567720" cy="3231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bias </a:t>
            </a:r>
            <a:r>
              <a:rPr kumimoji="0" lang="de-DE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ckling</a:t>
            </a:r>
            <a:b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bias.reckling@univie.ac.at</a:t>
            </a:r>
          </a:p>
          <a:p>
            <a:pPr marL="0" marR="0" lvl="0" indent="0" algn="l" defTabSz="4572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ordinator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b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3"/>
              </a:rPr>
              <a:t>Knowledge Transfer Center East</a:t>
            </a:r>
            <a:endParaRPr kumimoji="0" lang="de-DE" sz="2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-</a:t>
            </a:r>
            <a:r>
              <a:rPr kumimoji="0" lang="de-DE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ordinator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b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4"/>
              </a:rPr>
              <a:t>Working Group UNICA &amp; The City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385741B2-0200-46DD-920D-197CC9F36CA8}"/>
              </a:ext>
            </a:extLst>
          </p:cNvPr>
          <p:cNvSpPr txBox="1">
            <a:spLocks/>
          </p:cNvSpPr>
          <p:nvPr/>
        </p:nvSpPr>
        <p:spPr>
          <a:xfrm>
            <a:off x="428220" y="317794"/>
            <a:ext cx="11895667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80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4000" b="0" i="0" u="none" strike="noStrike" kern="1200" cap="none" spc="-5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1075346" y="263527"/>
            <a:ext cx="10058400" cy="1450757"/>
          </a:xfrm>
        </p:spPr>
        <p:txBody>
          <a:bodyPr>
            <a:normAutofit/>
          </a:bodyPr>
          <a:lstStyle/>
          <a:p>
            <a:r>
              <a:rPr lang="de-DE" sz="4000" dirty="0" err="1"/>
              <a:t>Contact</a:t>
            </a:r>
            <a:r>
              <a:rPr lang="de-DE" sz="4000" dirty="0"/>
              <a:t> &amp; </a:t>
            </a:r>
            <a:br>
              <a:rPr lang="de-DE" sz="4000" dirty="0"/>
            </a:br>
            <a:r>
              <a:rPr lang="de-DE" sz="4000" dirty="0"/>
              <a:t>Further </a:t>
            </a:r>
            <a:r>
              <a:rPr lang="de-DE" sz="4000" dirty="0" err="1"/>
              <a:t>activities</a:t>
            </a:r>
            <a:endParaRPr lang="de-DE" sz="4000" dirty="0"/>
          </a:p>
        </p:txBody>
      </p:sp>
    </p:spTree>
    <p:extLst>
      <p:ext uri="{BB962C8B-B14F-4D97-AF65-F5344CB8AC3E}">
        <p14:creationId xmlns:p14="http://schemas.microsoft.com/office/powerpoint/2010/main" val="290054794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NL"/>
          </a:p>
        </p:txBody>
      </p:sp>
      <p:pic>
        <p:nvPicPr>
          <p:cNvPr id="4" name="Afbeelding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509" b="74431"/>
          <a:stretch/>
        </p:blipFill>
        <p:spPr>
          <a:xfrm>
            <a:off x="0" y="-240"/>
            <a:ext cx="6261463" cy="1272359"/>
          </a:xfrm>
          <a:prstGeom prst="rect">
            <a:avLst/>
          </a:prstGeom>
        </p:spPr>
      </p:pic>
      <p:sp>
        <p:nvSpPr>
          <p:cNvPr id="5" name="Rechthoek 4"/>
          <p:cNvSpPr/>
          <p:nvPr/>
        </p:nvSpPr>
        <p:spPr>
          <a:xfrm>
            <a:off x="6113417" y="-242"/>
            <a:ext cx="6113883" cy="1541660"/>
          </a:xfrm>
          <a:prstGeom prst="rect">
            <a:avLst/>
          </a:prstGeom>
          <a:solidFill>
            <a:srgbClr val="F7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kstvak 6"/>
          <p:cNvSpPr txBox="1"/>
          <p:nvPr/>
        </p:nvSpPr>
        <p:spPr>
          <a:xfrm>
            <a:off x="0" y="1250954"/>
            <a:ext cx="12227300" cy="580928"/>
          </a:xfrm>
          <a:prstGeom prst="rect">
            <a:avLst/>
          </a:prstGeom>
          <a:solidFill>
            <a:srgbClr val="820000"/>
          </a:solidFill>
          <a:ln w="76200"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aramond" panose="02020404030301010803" pitchFamily="18" charset="0"/>
              <a:ea typeface="+mn-ea"/>
              <a:cs typeface="+mn-cs"/>
            </a:endParaRPr>
          </a:p>
        </p:txBody>
      </p:sp>
      <p:sp>
        <p:nvSpPr>
          <p:cNvPr id="8" name="Rechthoek 7"/>
          <p:cNvSpPr/>
          <p:nvPr/>
        </p:nvSpPr>
        <p:spPr>
          <a:xfrm>
            <a:off x="0" y="6762201"/>
            <a:ext cx="12192000" cy="104508"/>
          </a:xfrm>
          <a:prstGeom prst="rect">
            <a:avLst/>
          </a:prstGeom>
          <a:solidFill>
            <a:srgbClr val="820000"/>
          </a:solidFill>
          <a:ln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7" name="Afbeelding 16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128" t="10859" r="29179" b="42807"/>
          <a:stretch/>
        </p:blipFill>
        <p:spPr>
          <a:xfrm>
            <a:off x="-1" y="6298562"/>
            <a:ext cx="1549269" cy="463639"/>
          </a:xfrm>
          <a:prstGeom prst="rect">
            <a:avLst/>
          </a:prstGeom>
        </p:spPr>
      </p:pic>
      <p:sp>
        <p:nvSpPr>
          <p:cNvPr id="10" name="Titel 1">
            <a:extLst>
              <a:ext uri="{FF2B5EF4-FFF2-40B4-BE49-F238E27FC236}">
                <a16:creationId xmlns:a16="http://schemas.microsoft.com/office/drawing/2014/main" id="{6DAA1982-755C-4897-B83D-619215647D02}"/>
              </a:ext>
            </a:extLst>
          </p:cNvPr>
          <p:cNvSpPr txBox="1">
            <a:spLocks/>
          </p:cNvSpPr>
          <p:nvPr/>
        </p:nvSpPr>
        <p:spPr>
          <a:xfrm>
            <a:off x="1700443" y="2443890"/>
            <a:ext cx="8825948" cy="3790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Aft>
                <a:spcPts val="1800"/>
              </a:spcAft>
            </a:pPr>
            <a:br>
              <a:rPr lang="nl-NL" sz="3600" dirty="0">
                <a:latin typeface="Garamond" panose="02020404030301010803" pitchFamily="18" charset="0"/>
              </a:rPr>
            </a:br>
            <a:r>
              <a:rPr lang="nl-NL" sz="6500" b="1" dirty="0" err="1">
                <a:solidFill>
                  <a:srgbClr val="820000"/>
                </a:solidFill>
                <a:latin typeface="Garamond" panose="02020404030301010803" pitchFamily="18" charset="0"/>
              </a:rPr>
              <a:t>Thank</a:t>
            </a:r>
            <a:r>
              <a:rPr lang="nl-NL" sz="6500" b="1" dirty="0">
                <a:solidFill>
                  <a:srgbClr val="820000"/>
                </a:solidFill>
                <a:latin typeface="Garamond" panose="02020404030301010803" pitchFamily="18" charset="0"/>
              </a:rPr>
              <a:t> </a:t>
            </a:r>
            <a:r>
              <a:rPr lang="nl-NL" sz="6500" b="1" dirty="0" err="1">
                <a:solidFill>
                  <a:srgbClr val="820000"/>
                </a:solidFill>
                <a:latin typeface="Garamond" panose="02020404030301010803" pitchFamily="18" charset="0"/>
              </a:rPr>
              <a:t>you</a:t>
            </a:r>
            <a:r>
              <a:rPr lang="nl-NL" sz="6500" b="1" dirty="0">
                <a:solidFill>
                  <a:srgbClr val="820000"/>
                </a:solidFill>
                <a:latin typeface="Garamond" panose="02020404030301010803" pitchFamily="18" charset="0"/>
              </a:rPr>
              <a:t>!</a:t>
            </a:r>
            <a:endParaRPr lang="nl-NL" sz="3600" b="1" dirty="0">
              <a:solidFill>
                <a:srgbClr val="820000"/>
              </a:solidFill>
              <a:latin typeface="Garamond" panose="02020404030301010803" pitchFamily="18" charset="0"/>
            </a:endParaRPr>
          </a:p>
          <a:p>
            <a:pPr algn="ctr">
              <a:spcAft>
                <a:spcPts val="1800"/>
              </a:spcAft>
            </a:pPr>
            <a:endParaRPr lang="nl-NL" sz="6500" b="1" dirty="0">
              <a:solidFill>
                <a:srgbClr val="820000"/>
              </a:solidFill>
              <a:latin typeface="Garamond" panose="02020404030301010803" pitchFamily="18" charset="0"/>
            </a:endParaRPr>
          </a:p>
        </p:txBody>
      </p:sp>
      <p:sp>
        <p:nvSpPr>
          <p:cNvPr id="12" name="Tekstvak 14">
            <a:extLst>
              <a:ext uri="{FF2B5EF4-FFF2-40B4-BE49-F238E27FC236}">
                <a16:creationId xmlns:a16="http://schemas.microsoft.com/office/drawing/2014/main" id="{C38E7DD1-D9CD-47CA-A8DD-E0460029BF1C}"/>
              </a:ext>
            </a:extLst>
          </p:cNvPr>
          <p:cNvSpPr txBox="1"/>
          <p:nvPr/>
        </p:nvSpPr>
        <p:spPr>
          <a:xfrm>
            <a:off x="9620834" y="6234477"/>
            <a:ext cx="2478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l-NL" sz="2400" b="1" dirty="0">
                <a:latin typeface="Garamond" panose="02020404030301010803" pitchFamily="18" charset="0"/>
              </a:rPr>
              <a:t>#SSHA21</a:t>
            </a:r>
          </a:p>
        </p:txBody>
      </p:sp>
      <p:sp>
        <p:nvSpPr>
          <p:cNvPr id="13" name="Tekstvak 5">
            <a:extLst>
              <a:ext uri="{FF2B5EF4-FFF2-40B4-BE49-F238E27FC236}">
                <a16:creationId xmlns:a16="http://schemas.microsoft.com/office/drawing/2014/main" id="{30182973-CCC1-4A3F-8D83-30B396AE4AEB}"/>
              </a:ext>
            </a:extLst>
          </p:cNvPr>
          <p:cNvSpPr txBox="1">
            <a:spLocks/>
          </p:cNvSpPr>
          <p:nvPr/>
        </p:nvSpPr>
        <p:spPr>
          <a:xfrm>
            <a:off x="4428309" y="-19281"/>
            <a:ext cx="76708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r"/>
            <a:r>
              <a:rPr lang="en-US" sz="2400" dirty="0">
                <a:solidFill>
                  <a:srgbClr val="820000"/>
                </a:solidFill>
                <a:latin typeface="Garamond" panose="02020404030301010803" pitchFamily="18" charset="0"/>
              </a:rPr>
              <a:t>Impact of Social Sciences, Humanities and Arts </a:t>
            </a:r>
          </a:p>
          <a:p>
            <a:pPr lvl="0" algn="r"/>
            <a:r>
              <a:rPr lang="en-US" sz="2000" dirty="0">
                <a:solidFill>
                  <a:prstClr val="black"/>
                </a:solidFill>
                <a:latin typeface="Garamond" panose="02020404030301010803" pitchFamily="18" charset="0"/>
              </a:rPr>
              <a:t>13-15 October, 2021</a:t>
            </a:r>
          </a:p>
          <a:p>
            <a:pPr lvl="0" algn="r"/>
            <a:endParaRPr lang="en-US" sz="2000" dirty="0">
              <a:solidFill>
                <a:prstClr val="black"/>
              </a:solidFill>
              <a:latin typeface="Garamond" panose="020204040303010108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64463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NL"/>
          </a:p>
        </p:txBody>
      </p:sp>
      <p:pic>
        <p:nvPicPr>
          <p:cNvPr id="4" name="Afbeelding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509" b="74431"/>
          <a:stretch/>
        </p:blipFill>
        <p:spPr>
          <a:xfrm>
            <a:off x="0" y="-240"/>
            <a:ext cx="6261463" cy="1272359"/>
          </a:xfrm>
          <a:prstGeom prst="rect">
            <a:avLst/>
          </a:prstGeom>
        </p:spPr>
      </p:pic>
      <p:sp>
        <p:nvSpPr>
          <p:cNvPr id="5" name="Rechthoek 4"/>
          <p:cNvSpPr/>
          <p:nvPr/>
        </p:nvSpPr>
        <p:spPr>
          <a:xfrm>
            <a:off x="6113417" y="-242"/>
            <a:ext cx="6113883" cy="1541660"/>
          </a:xfrm>
          <a:prstGeom prst="rect">
            <a:avLst/>
          </a:prstGeom>
          <a:solidFill>
            <a:srgbClr val="F7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kstvak 6"/>
          <p:cNvSpPr txBox="1"/>
          <p:nvPr/>
        </p:nvSpPr>
        <p:spPr>
          <a:xfrm>
            <a:off x="0" y="1250954"/>
            <a:ext cx="12227300" cy="580928"/>
          </a:xfrm>
          <a:prstGeom prst="rect">
            <a:avLst/>
          </a:prstGeom>
          <a:solidFill>
            <a:srgbClr val="820000"/>
          </a:solidFill>
          <a:ln w="76200"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aramond" panose="02020404030301010803" pitchFamily="18" charset="0"/>
              <a:ea typeface="+mn-ea"/>
              <a:cs typeface="+mn-cs"/>
            </a:endParaRPr>
          </a:p>
        </p:txBody>
      </p:sp>
      <p:sp>
        <p:nvSpPr>
          <p:cNvPr id="8" name="Rechthoek 7"/>
          <p:cNvSpPr/>
          <p:nvPr/>
        </p:nvSpPr>
        <p:spPr>
          <a:xfrm>
            <a:off x="0" y="6762201"/>
            <a:ext cx="12192000" cy="104508"/>
          </a:xfrm>
          <a:prstGeom prst="rect">
            <a:avLst/>
          </a:prstGeom>
          <a:solidFill>
            <a:srgbClr val="820000"/>
          </a:solidFill>
          <a:ln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7" name="Afbeelding 16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128" t="10859" r="29179" b="42807"/>
          <a:stretch/>
        </p:blipFill>
        <p:spPr>
          <a:xfrm>
            <a:off x="-1" y="6298562"/>
            <a:ext cx="1549269" cy="463639"/>
          </a:xfrm>
          <a:prstGeom prst="rect">
            <a:avLst/>
          </a:prstGeom>
        </p:spPr>
      </p:pic>
      <p:sp>
        <p:nvSpPr>
          <p:cNvPr id="10" name="Titel 1">
            <a:extLst>
              <a:ext uri="{FF2B5EF4-FFF2-40B4-BE49-F238E27FC236}">
                <a16:creationId xmlns:a16="http://schemas.microsoft.com/office/drawing/2014/main" id="{6DAA1982-755C-4897-B83D-619215647D02}"/>
              </a:ext>
            </a:extLst>
          </p:cNvPr>
          <p:cNvSpPr txBox="1">
            <a:spLocks/>
          </p:cNvSpPr>
          <p:nvPr/>
        </p:nvSpPr>
        <p:spPr>
          <a:xfrm>
            <a:off x="1700443" y="2443890"/>
            <a:ext cx="8825948" cy="3790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Aft>
                <a:spcPts val="1800"/>
              </a:spcAft>
            </a:pPr>
            <a:r>
              <a:rPr lang="nl-NL" sz="3300" b="1" dirty="0">
                <a:solidFill>
                  <a:srgbClr val="820000"/>
                </a:solidFill>
                <a:latin typeface="Garamond" panose="02020404030301010803" pitchFamily="18" charset="0"/>
              </a:rPr>
              <a:t>Thomas Alslev Christensen</a:t>
            </a:r>
          </a:p>
          <a:p>
            <a:pPr algn="ctr">
              <a:spcAft>
                <a:spcPts val="1800"/>
              </a:spcAft>
            </a:pPr>
            <a:r>
              <a:rPr lang="en-US" sz="2500" i="1" dirty="0">
                <a:latin typeface="Garamond" panose="02020404030301010803" pitchFamily="18" charset="0"/>
              </a:rPr>
              <a:t>Senior Vice-President, Impact, Novo Nordisk Foundation, Denmark</a:t>
            </a:r>
            <a:br>
              <a:rPr lang="nl-NL" sz="3600" dirty="0">
                <a:latin typeface="Garamond" panose="02020404030301010803" pitchFamily="18" charset="0"/>
              </a:rPr>
            </a:br>
            <a:endParaRPr lang="nl-NL" sz="3600" dirty="0">
              <a:latin typeface="Garamond" panose="02020404030301010803" pitchFamily="18" charset="0"/>
            </a:endParaRPr>
          </a:p>
        </p:txBody>
      </p:sp>
      <p:sp>
        <p:nvSpPr>
          <p:cNvPr id="13" name="Tekstvak 14">
            <a:extLst>
              <a:ext uri="{FF2B5EF4-FFF2-40B4-BE49-F238E27FC236}">
                <a16:creationId xmlns:a16="http://schemas.microsoft.com/office/drawing/2014/main" id="{74A62895-764F-49FF-9F34-65DE46DAA367}"/>
              </a:ext>
            </a:extLst>
          </p:cNvPr>
          <p:cNvSpPr txBox="1"/>
          <p:nvPr/>
        </p:nvSpPr>
        <p:spPr>
          <a:xfrm>
            <a:off x="9620834" y="6234477"/>
            <a:ext cx="2478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l-NL" sz="2400" b="1" dirty="0">
                <a:latin typeface="Garamond" panose="02020404030301010803" pitchFamily="18" charset="0"/>
              </a:rPr>
              <a:t>#SSHA21</a:t>
            </a:r>
          </a:p>
        </p:txBody>
      </p:sp>
      <p:sp>
        <p:nvSpPr>
          <p:cNvPr id="11" name="Tekstvak 5">
            <a:extLst>
              <a:ext uri="{FF2B5EF4-FFF2-40B4-BE49-F238E27FC236}">
                <a16:creationId xmlns:a16="http://schemas.microsoft.com/office/drawing/2014/main" id="{92A72207-1788-41FD-B3EC-A6DA58DCD3E9}"/>
              </a:ext>
            </a:extLst>
          </p:cNvPr>
          <p:cNvSpPr txBox="1">
            <a:spLocks/>
          </p:cNvSpPr>
          <p:nvPr/>
        </p:nvSpPr>
        <p:spPr>
          <a:xfrm>
            <a:off x="4428309" y="-19281"/>
            <a:ext cx="76708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r"/>
            <a:r>
              <a:rPr lang="en-US" sz="2400" dirty="0">
                <a:solidFill>
                  <a:srgbClr val="820000"/>
                </a:solidFill>
                <a:latin typeface="Garamond" panose="02020404030301010803" pitchFamily="18" charset="0"/>
              </a:rPr>
              <a:t>Impact of Social Sciences, Humanities and Arts </a:t>
            </a:r>
          </a:p>
          <a:p>
            <a:pPr lvl="0" algn="r"/>
            <a:r>
              <a:rPr lang="en-US" sz="2000" dirty="0">
                <a:solidFill>
                  <a:prstClr val="black"/>
                </a:solidFill>
                <a:latin typeface="Garamond" panose="02020404030301010803" pitchFamily="18" charset="0"/>
              </a:rPr>
              <a:t>13-15 October, 2021</a:t>
            </a:r>
          </a:p>
        </p:txBody>
      </p:sp>
    </p:spTree>
    <p:extLst>
      <p:ext uri="{BB962C8B-B14F-4D97-AF65-F5344CB8AC3E}">
        <p14:creationId xmlns:p14="http://schemas.microsoft.com/office/powerpoint/2010/main" val="12731547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C90C1BC-1B31-492E-B17F-39D60A5BCD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7"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C90C1BC-1B31-492E-B17F-39D60A5BCD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46BE787-E2DE-4C41-94E6-4DF1F725BC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9998" y="719928"/>
            <a:ext cx="9305254" cy="2344800"/>
          </a:xfrm>
        </p:spPr>
        <p:txBody>
          <a:bodyPr vert="horz"/>
          <a:lstStyle/>
          <a:p>
            <a:r>
              <a:rPr lang="en-GB" dirty="0"/>
              <a:t>Novo Nordisk Foundation’s support to interdisciplinary scienc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D8D7345-AB76-4481-8BC5-7293A8FD4F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C23E8EE-1D67-4000-AC2E-CCE94529565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 dirty="0"/>
              <a:t>Thomas Alslev Christensen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A4A20308-EE0D-4AE7-8285-C78BD9DAAC5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sz="1600" dirty="0"/>
              <a:t>Senior Vice president, PhD</a:t>
            </a: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F796341-40C8-4855-B31A-C603E3EE31D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GB" dirty="0"/>
              <a:t>Impact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772156941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6A0C6DE-261C-42FE-88FD-1F2FDBB8B7D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1" name="think-cell Slide" r:id="rId6" imgW="408" imgH="408" progId="TCLayout.ActiveDocument.1">
                  <p:embed/>
                </p:oleObj>
              </mc:Choice>
              <mc:Fallback>
                <p:oleObj name="think-cell Slide" r:id="rId6" imgW="408" imgH="4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6A0C6DE-261C-42FE-88FD-1F2FDBB8B7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!!Darker grey">
            <a:extLst>
              <a:ext uri="{FF2B5EF4-FFF2-40B4-BE49-F238E27FC236}">
                <a16:creationId xmlns:a16="http://schemas.microsoft.com/office/drawing/2014/main" id="{AA341E6F-F4F7-4D59-B67E-BB18503D78EC}"/>
              </a:ext>
            </a:extLst>
          </p:cNvPr>
          <p:cNvSpPr/>
          <p:nvPr/>
        </p:nvSpPr>
        <p:spPr>
          <a:xfrm>
            <a:off x="1" y="4429672"/>
            <a:ext cx="12192000" cy="2431341"/>
          </a:xfrm>
          <a:prstGeom prst="rect">
            <a:avLst/>
          </a:prstGeom>
          <a:solidFill>
            <a:srgbClr val="A6AF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6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</a:pPr>
            <a:endParaRPr lang="en-GB" sz="933" dirty="0" err="1">
              <a:solidFill>
                <a:srgbClr val="FFFFFF"/>
              </a:solidFill>
              <a:latin typeface="Novo Apply San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84107F-A9F4-413D-A6D1-083F9D578F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46"/>
            <a:fld id="{4D833E3B-2778-42F4-9ABB-9F6DE98C7B48}" type="slidenum">
              <a:rPr lang="en-GB">
                <a:solidFill>
                  <a:srgbClr val="001965"/>
                </a:solidFill>
                <a:latin typeface="Novo Apply Sans"/>
              </a:rPr>
              <a:pPr defTabSz="914446"/>
              <a:t>5</a:t>
            </a:fld>
            <a:endParaRPr lang="en-GB" dirty="0">
              <a:solidFill>
                <a:srgbClr val="001965"/>
              </a:solidFill>
              <a:latin typeface="Novo Apply Sans"/>
            </a:endParaRPr>
          </a:p>
        </p:txBody>
      </p:sp>
      <p:cxnSp>
        <p:nvCxnSpPr>
          <p:cNvPr id="24" name="Lige forbindelse 19">
            <a:extLst>
              <a:ext uri="{FF2B5EF4-FFF2-40B4-BE49-F238E27FC236}">
                <a16:creationId xmlns:a16="http://schemas.microsoft.com/office/drawing/2014/main" id="{89CC921F-03B4-4C73-A43B-E179A94DE91E}"/>
              </a:ext>
            </a:extLst>
          </p:cNvPr>
          <p:cNvCxnSpPr/>
          <p:nvPr/>
        </p:nvCxnSpPr>
        <p:spPr>
          <a:xfrm>
            <a:off x="2672827" y="1705553"/>
            <a:ext cx="1365929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Lige forbindelse 66">
            <a:extLst>
              <a:ext uri="{FF2B5EF4-FFF2-40B4-BE49-F238E27FC236}">
                <a16:creationId xmlns:a16="http://schemas.microsoft.com/office/drawing/2014/main" id="{A117A9B9-22D2-4D65-B133-1FDCE84A9301}"/>
              </a:ext>
            </a:extLst>
          </p:cNvPr>
          <p:cNvCxnSpPr/>
          <p:nvPr/>
        </p:nvCxnSpPr>
        <p:spPr>
          <a:xfrm>
            <a:off x="2672826" y="4129445"/>
            <a:ext cx="1365929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31">
            <a:extLst>
              <a:ext uri="{FF2B5EF4-FFF2-40B4-BE49-F238E27FC236}">
                <a16:creationId xmlns:a16="http://schemas.microsoft.com/office/drawing/2014/main" id="{43D1CB06-C736-4F05-9C0E-6136B9D62B53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06" r="23171"/>
          <a:stretch/>
        </p:blipFill>
        <p:spPr>
          <a:xfrm>
            <a:off x="6096001" y="0"/>
            <a:ext cx="6095999" cy="6858000"/>
          </a:xfrm>
          <a:prstGeom prst="rect">
            <a:avLst/>
          </a:prstGeom>
        </p:spPr>
      </p:pic>
      <p:grpSp>
        <p:nvGrpSpPr>
          <p:cNvPr id="44" name="Group 43">
            <a:extLst>
              <a:ext uri="{FF2B5EF4-FFF2-40B4-BE49-F238E27FC236}">
                <a16:creationId xmlns:a16="http://schemas.microsoft.com/office/drawing/2014/main" id="{E99E5938-5000-42B4-93AF-C8E3441E13E7}"/>
              </a:ext>
            </a:extLst>
          </p:cNvPr>
          <p:cNvGrpSpPr/>
          <p:nvPr/>
        </p:nvGrpSpPr>
        <p:grpSpPr>
          <a:xfrm>
            <a:off x="912181" y="525044"/>
            <a:ext cx="3934687" cy="1422854"/>
            <a:chOff x="793734" y="3832483"/>
            <a:chExt cx="5902030" cy="2134281"/>
          </a:xfrm>
        </p:grpSpPr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148C9138-C156-43B5-B5D0-093CB60A5A28}"/>
                </a:ext>
              </a:extLst>
            </p:cNvPr>
            <p:cNvGrpSpPr/>
            <p:nvPr/>
          </p:nvGrpSpPr>
          <p:grpSpPr>
            <a:xfrm>
              <a:off x="793734" y="3944000"/>
              <a:ext cx="2022764" cy="2022764"/>
              <a:chOff x="793734" y="3944000"/>
              <a:chExt cx="2022764" cy="2022764"/>
            </a:xfrm>
          </p:grpSpPr>
          <p:sp>
            <p:nvSpPr>
              <p:cNvPr id="35" name="Oval 34">
                <a:extLst>
                  <a:ext uri="{FF2B5EF4-FFF2-40B4-BE49-F238E27FC236}">
                    <a16:creationId xmlns:a16="http://schemas.microsoft.com/office/drawing/2014/main" id="{DA8DB68A-D2D3-4FFB-93BA-857E7AB94544}"/>
                  </a:ext>
                </a:extLst>
              </p:cNvPr>
              <p:cNvSpPr/>
              <p:nvPr/>
            </p:nvSpPr>
            <p:spPr>
              <a:xfrm>
                <a:off x="793734" y="3944000"/>
                <a:ext cx="2022764" cy="2022764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46"/>
                <a:endParaRPr lang="da-DK" sz="1600" spc="7">
                  <a:solidFill>
                    <a:srgbClr val="FFFFFF"/>
                  </a:solidFill>
                  <a:latin typeface="Novo Apply Sans"/>
                </a:endParaRPr>
              </a:p>
            </p:txBody>
          </p:sp>
          <p:pic>
            <p:nvPicPr>
              <p:cNvPr id="36" name="Graphic 35">
                <a:extLst>
                  <a:ext uri="{FF2B5EF4-FFF2-40B4-BE49-F238E27FC236}">
                    <a16:creationId xmlns:a16="http://schemas.microsoft.com/office/drawing/2014/main" id="{4DADC39B-D94C-4A27-B2B3-1776C752977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930617" y="4080883"/>
                <a:ext cx="1748999" cy="1748999"/>
              </a:xfrm>
              <a:prstGeom prst="rect">
                <a:avLst/>
              </a:prstGeom>
            </p:spPr>
          </p:pic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A4B982FE-B19F-4296-9F00-8633CD758D95}"/>
                  </a:ext>
                </a:extLst>
              </p:cNvPr>
              <p:cNvSpPr txBox="1"/>
              <p:nvPr/>
            </p:nvSpPr>
            <p:spPr>
              <a:xfrm>
                <a:off x="1030128" y="4399243"/>
                <a:ext cx="1549976" cy="10810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 defTabSz="914446">
                  <a:lnSpc>
                    <a:spcPct val="107000"/>
                  </a:lnSpc>
                  <a:spcAft>
                    <a:spcPts val="400"/>
                  </a:spcAft>
                </a:pPr>
                <a:r>
                  <a:rPr lang="da-DK" sz="4800" b="1" spc="7" dirty="0">
                    <a:solidFill>
                      <a:srgbClr val="FFFFFF"/>
                    </a:solidFill>
                    <a:latin typeface="Novo Apply Sans" panose="020B0503030000000000" pitchFamily="34" charset="0"/>
                  </a:rPr>
                  <a:t>#1</a:t>
                </a:r>
              </a:p>
            </p:txBody>
          </p:sp>
        </p:grp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27615AEE-DC50-43B0-90B4-D4963D8965D5}"/>
                </a:ext>
              </a:extLst>
            </p:cNvPr>
            <p:cNvSpPr/>
            <p:nvPr/>
          </p:nvSpPr>
          <p:spPr>
            <a:xfrm>
              <a:off x="3093582" y="3832483"/>
              <a:ext cx="3602182" cy="16107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4446">
                <a:lnSpc>
                  <a:spcPct val="107000"/>
                </a:lnSpc>
              </a:pPr>
              <a:r>
                <a:rPr lang="da-DK" sz="1867" spc="7" dirty="0">
                  <a:solidFill>
                    <a:srgbClr val="001965"/>
                  </a:solidFill>
                  <a:latin typeface="Novo Apply Sans" panose="020B0503030000000000" pitchFamily="34" charset="0"/>
                </a:rPr>
                <a:t>The </a:t>
              </a:r>
              <a:r>
                <a:rPr lang="da-DK" sz="1867" spc="7" dirty="0" err="1">
                  <a:solidFill>
                    <a:srgbClr val="001965"/>
                  </a:solidFill>
                  <a:latin typeface="Novo Apply Sans" panose="020B0503030000000000" pitchFamily="34" charset="0"/>
                </a:rPr>
                <a:t>world’s</a:t>
              </a:r>
              <a:r>
                <a:rPr lang="da-DK" sz="1867" spc="7" dirty="0">
                  <a:solidFill>
                    <a:srgbClr val="001965"/>
                  </a:solidFill>
                  <a:latin typeface="Novo Apply Sans" panose="020B0503030000000000" pitchFamily="34" charset="0"/>
                </a:rPr>
                <a:t> </a:t>
              </a:r>
              <a:r>
                <a:rPr lang="da-DK" sz="1867" spc="7" dirty="0" err="1">
                  <a:solidFill>
                    <a:srgbClr val="001965"/>
                  </a:solidFill>
                  <a:latin typeface="Novo Apply Sans" panose="020B0503030000000000" pitchFamily="34" charset="0"/>
                </a:rPr>
                <a:t>largest</a:t>
              </a:r>
              <a:endParaRPr lang="da-DK" sz="1867" spc="7" dirty="0">
                <a:solidFill>
                  <a:srgbClr val="001965"/>
                </a:solidFill>
                <a:latin typeface="Novo Apply Sans" panose="020B0503030000000000" pitchFamily="34" charset="0"/>
              </a:endParaRPr>
            </a:p>
            <a:p>
              <a:pPr defTabSz="914446">
                <a:lnSpc>
                  <a:spcPct val="107000"/>
                </a:lnSpc>
              </a:pPr>
              <a:r>
                <a:rPr lang="da-DK" sz="1867" spc="7" dirty="0" err="1">
                  <a:solidFill>
                    <a:srgbClr val="001965"/>
                  </a:solidFill>
                  <a:latin typeface="Novo Apply Sans" panose="020B0503030000000000" pitchFamily="34" charset="0"/>
                </a:rPr>
                <a:t>measured</a:t>
              </a:r>
              <a:r>
                <a:rPr lang="da-DK" sz="1867" spc="7" dirty="0">
                  <a:solidFill>
                    <a:srgbClr val="001965"/>
                  </a:solidFill>
                  <a:latin typeface="Novo Apply Sans" panose="020B0503030000000000" pitchFamily="34" charset="0"/>
                </a:rPr>
                <a:t> in </a:t>
              </a:r>
              <a:r>
                <a:rPr lang="da-DK" sz="1867" b="1" spc="7" dirty="0">
                  <a:solidFill>
                    <a:srgbClr val="001965"/>
                  </a:solidFill>
                  <a:latin typeface="Novo Apply Sans" panose="020B0503030000000000" pitchFamily="34" charset="0"/>
                </a:rPr>
                <a:t>assets</a:t>
              </a:r>
              <a:r>
                <a:rPr lang="da-DK" sz="1867" spc="7" dirty="0">
                  <a:solidFill>
                    <a:srgbClr val="001965"/>
                  </a:solidFill>
                  <a:latin typeface="Novo Apply Sans" panose="020B0503030000000000" pitchFamily="34" charset="0"/>
                </a:rPr>
                <a:t>:</a:t>
              </a:r>
            </a:p>
            <a:p>
              <a:pPr defTabSz="914446">
                <a:lnSpc>
                  <a:spcPct val="107000"/>
                </a:lnSpc>
              </a:pPr>
              <a:r>
                <a:rPr lang="da-DK" sz="1867" spc="7" dirty="0">
                  <a:solidFill>
                    <a:srgbClr val="001965"/>
                  </a:solidFill>
                  <a:latin typeface="Novo Apply Sans" panose="020B0503030000000000" pitchFamily="34" charset="0"/>
                </a:rPr>
                <a:t>USD ~</a:t>
              </a:r>
              <a:r>
                <a:rPr lang="da-DK" sz="2400" b="1" spc="7" dirty="0">
                  <a:solidFill>
                    <a:srgbClr val="001965"/>
                  </a:solidFill>
                  <a:latin typeface="Novo Apply Sans" panose="020B0503030000000000" pitchFamily="34" charset="0"/>
                </a:rPr>
                <a:t>100</a:t>
              </a:r>
              <a:r>
                <a:rPr lang="da-DK" sz="1867" b="1" spc="7" dirty="0">
                  <a:solidFill>
                    <a:srgbClr val="001965"/>
                  </a:solidFill>
                  <a:latin typeface="Novo Apply Sans" panose="020B0503030000000000" pitchFamily="34" charset="0"/>
                </a:rPr>
                <a:t> </a:t>
              </a:r>
              <a:r>
                <a:rPr lang="da-DK" sz="1867" spc="7" dirty="0">
                  <a:solidFill>
                    <a:srgbClr val="001965"/>
                  </a:solidFill>
                  <a:latin typeface="Novo Apply Sans" panose="020B0503030000000000" pitchFamily="34" charset="0"/>
                </a:rPr>
                <a:t>billion</a:t>
              </a: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EA47CBF0-F0BE-4170-B93D-CEF14730A58B}"/>
              </a:ext>
            </a:extLst>
          </p:cNvPr>
          <p:cNvGrpSpPr/>
          <p:nvPr/>
        </p:nvGrpSpPr>
        <p:grpSpPr>
          <a:xfrm>
            <a:off x="912182" y="2567659"/>
            <a:ext cx="4750914" cy="1360547"/>
            <a:chOff x="6695764" y="3910348"/>
            <a:chExt cx="6896487" cy="2040820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E0A56191-8826-4B25-A4DA-CDDBD4E5C0F3}"/>
                </a:ext>
              </a:extLst>
            </p:cNvPr>
            <p:cNvSpPr/>
            <p:nvPr/>
          </p:nvSpPr>
          <p:spPr>
            <a:xfrm>
              <a:off x="6695764" y="3928404"/>
              <a:ext cx="2022764" cy="2022764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46"/>
              <a:endParaRPr lang="da-DK" sz="1600" spc="7">
                <a:solidFill>
                  <a:srgbClr val="FFFFFF"/>
                </a:solidFill>
                <a:latin typeface="Novo Apply Sans"/>
              </a:endParaRPr>
            </a:p>
          </p:txBody>
        </p:sp>
        <p:pic>
          <p:nvPicPr>
            <p:cNvPr id="40" name="Graphic 39">
              <a:extLst>
                <a:ext uri="{FF2B5EF4-FFF2-40B4-BE49-F238E27FC236}">
                  <a16:creationId xmlns:a16="http://schemas.microsoft.com/office/drawing/2014/main" id="{B6CD64E7-41EC-44F7-BEA2-2CBE2A7B759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6832647" y="4065287"/>
              <a:ext cx="1748999" cy="1748999"/>
            </a:xfrm>
            <a:prstGeom prst="rect">
              <a:avLst/>
            </a:prstGeom>
          </p:spPr>
        </p:pic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F4FA4712-7746-46B9-A031-EA4E8CDD2186}"/>
                </a:ext>
              </a:extLst>
            </p:cNvPr>
            <p:cNvSpPr txBox="1"/>
            <p:nvPr/>
          </p:nvSpPr>
          <p:spPr>
            <a:xfrm>
              <a:off x="6932158" y="4383647"/>
              <a:ext cx="1549976" cy="10810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 defTabSz="914446">
                <a:lnSpc>
                  <a:spcPct val="107000"/>
                </a:lnSpc>
                <a:spcAft>
                  <a:spcPts val="400"/>
                </a:spcAft>
              </a:pPr>
              <a:r>
                <a:rPr lang="da-DK" sz="4800" b="1" spc="7" dirty="0">
                  <a:solidFill>
                    <a:srgbClr val="FFFFFF"/>
                  </a:solidFill>
                  <a:latin typeface="Novo Apply Sans" panose="020B0503030000000000" pitchFamily="34" charset="0"/>
                </a:rPr>
                <a:t>#3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FE77EBD7-86B9-44F6-A19B-F78BCCED6B1D}"/>
                </a:ext>
              </a:extLst>
            </p:cNvPr>
            <p:cNvSpPr/>
            <p:nvPr/>
          </p:nvSpPr>
          <p:spPr>
            <a:xfrm>
              <a:off x="9006940" y="3910348"/>
              <a:ext cx="4585311" cy="179395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4446">
                <a:lnSpc>
                  <a:spcPct val="107000"/>
                </a:lnSpc>
              </a:pPr>
              <a:r>
                <a:rPr lang="da-DK" sz="1867" spc="7" dirty="0">
                  <a:solidFill>
                    <a:srgbClr val="001965"/>
                  </a:solidFill>
                  <a:latin typeface="Novo Apply Sans" panose="020B0503030000000000" pitchFamily="34" charset="0"/>
                </a:rPr>
                <a:t>The </a:t>
              </a:r>
              <a:r>
                <a:rPr lang="da-DK" sz="1867" spc="7" dirty="0" err="1">
                  <a:solidFill>
                    <a:srgbClr val="001965"/>
                  </a:solidFill>
                  <a:latin typeface="Novo Apply Sans" panose="020B0503030000000000" pitchFamily="34" charset="0"/>
                </a:rPr>
                <a:t>world’s</a:t>
              </a:r>
              <a:r>
                <a:rPr lang="da-DK" sz="1867" spc="7" dirty="0">
                  <a:solidFill>
                    <a:srgbClr val="001965"/>
                  </a:solidFill>
                  <a:latin typeface="Novo Apply Sans" panose="020B0503030000000000" pitchFamily="34" charset="0"/>
                </a:rPr>
                <a:t> </a:t>
              </a:r>
              <a:r>
                <a:rPr lang="da-DK" sz="1867" spc="7" dirty="0" err="1">
                  <a:solidFill>
                    <a:srgbClr val="001965"/>
                  </a:solidFill>
                  <a:latin typeface="Novo Apply Sans" panose="020B0503030000000000" pitchFamily="34" charset="0"/>
                </a:rPr>
                <a:t>third</a:t>
              </a:r>
              <a:r>
                <a:rPr lang="da-DK" sz="1867" spc="7" dirty="0">
                  <a:solidFill>
                    <a:srgbClr val="001965"/>
                  </a:solidFill>
                  <a:latin typeface="Novo Apply Sans" panose="020B0503030000000000" pitchFamily="34" charset="0"/>
                </a:rPr>
                <a:t> </a:t>
              </a:r>
              <a:r>
                <a:rPr lang="da-DK" sz="1867" spc="7" dirty="0" err="1">
                  <a:solidFill>
                    <a:srgbClr val="001965"/>
                  </a:solidFill>
                  <a:latin typeface="Novo Apply Sans" panose="020B0503030000000000" pitchFamily="34" charset="0"/>
                </a:rPr>
                <a:t>largest</a:t>
              </a:r>
              <a:r>
                <a:rPr lang="da-DK" sz="1867" spc="7" dirty="0">
                  <a:solidFill>
                    <a:srgbClr val="001965"/>
                  </a:solidFill>
                  <a:latin typeface="Novo Apply Sans" panose="020B0503030000000000" pitchFamily="34" charset="0"/>
                </a:rPr>
                <a:t> </a:t>
              </a:r>
              <a:r>
                <a:rPr lang="da-DK" sz="1867" spc="7" dirty="0" err="1">
                  <a:solidFill>
                    <a:srgbClr val="001965"/>
                  </a:solidFill>
                  <a:latin typeface="Novo Apply Sans" panose="020B0503030000000000" pitchFamily="34" charset="0"/>
                </a:rPr>
                <a:t>measured</a:t>
              </a:r>
              <a:r>
                <a:rPr lang="da-DK" sz="1867" spc="7" dirty="0">
                  <a:solidFill>
                    <a:srgbClr val="001965"/>
                  </a:solidFill>
                  <a:latin typeface="Novo Apply Sans" panose="020B0503030000000000" pitchFamily="34" charset="0"/>
                </a:rPr>
                <a:t> in </a:t>
              </a:r>
              <a:r>
                <a:rPr lang="da-DK" sz="1867" b="1" spc="7" dirty="0" err="1">
                  <a:solidFill>
                    <a:srgbClr val="001965"/>
                  </a:solidFill>
                  <a:latin typeface="Novo Apply Sans" panose="020B0503030000000000" pitchFamily="34" charset="0"/>
                </a:rPr>
                <a:t>grants</a:t>
              </a:r>
              <a:r>
                <a:rPr lang="da-DK" sz="1867" b="1" spc="7" dirty="0">
                  <a:solidFill>
                    <a:srgbClr val="001965"/>
                  </a:solidFill>
                  <a:latin typeface="Novo Apply Sans" panose="020B0503030000000000" pitchFamily="34" charset="0"/>
                </a:rPr>
                <a:t> </a:t>
              </a:r>
              <a:endParaRPr lang="da-DK" sz="1867" spc="7" dirty="0">
                <a:solidFill>
                  <a:srgbClr val="001965"/>
                </a:solidFill>
                <a:latin typeface="Novo Apply Sans" panose="020B0503030000000000" pitchFamily="34" charset="0"/>
              </a:endParaRPr>
            </a:p>
            <a:p>
              <a:pPr defTabSz="914446">
                <a:lnSpc>
                  <a:spcPct val="107000"/>
                </a:lnSpc>
              </a:pPr>
              <a:r>
                <a:rPr lang="da-DK" sz="1867" spc="7" dirty="0">
                  <a:solidFill>
                    <a:srgbClr val="001965"/>
                  </a:solidFill>
                  <a:latin typeface="Novo Apply Sans" panose="020B0503030000000000" pitchFamily="34" charset="0"/>
                </a:rPr>
                <a:t>USD</a:t>
              </a:r>
              <a:r>
                <a:rPr lang="da-DK" sz="1867" b="1" spc="7" dirty="0">
                  <a:solidFill>
                    <a:srgbClr val="001965"/>
                  </a:solidFill>
                  <a:latin typeface="Novo Apply Sans" panose="020B0503030000000000" pitchFamily="34" charset="0"/>
                </a:rPr>
                <a:t> </a:t>
              </a:r>
              <a:r>
                <a:rPr lang="da-DK" sz="2400" b="1" spc="7" dirty="0">
                  <a:solidFill>
                    <a:srgbClr val="001965"/>
                  </a:solidFill>
                  <a:latin typeface="Novo Apply Sans" panose="020B0503030000000000" pitchFamily="34" charset="0"/>
                </a:rPr>
                <a:t>915</a:t>
              </a:r>
              <a:r>
                <a:rPr lang="da-DK" sz="3200" b="1" spc="7" dirty="0">
                  <a:solidFill>
                    <a:srgbClr val="001965"/>
                  </a:solidFill>
                  <a:latin typeface="Novo Apply Sans" panose="020B0503030000000000" pitchFamily="34" charset="0"/>
                </a:rPr>
                <a:t> </a:t>
              </a:r>
              <a:r>
                <a:rPr lang="da-DK" sz="1867" spc="7" dirty="0">
                  <a:solidFill>
                    <a:srgbClr val="001965"/>
                  </a:solidFill>
                  <a:latin typeface="Novo Apply Sans" panose="020B0503030000000000" pitchFamily="34" charset="0"/>
                </a:rPr>
                <a:t>million</a:t>
              </a:r>
            </a:p>
          </p:txBody>
        </p:sp>
      </p:grpSp>
      <p:sp>
        <p:nvSpPr>
          <p:cNvPr id="23" name="Title 4">
            <a:extLst>
              <a:ext uri="{FF2B5EF4-FFF2-40B4-BE49-F238E27FC236}">
                <a16:creationId xmlns:a16="http://schemas.microsoft.com/office/drawing/2014/main" id="{CAA2C7B2-7A2A-4A7C-8D2B-E3B1587C1F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3085" y="431999"/>
            <a:ext cx="5648915" cy="980876"/>
          </a:xfrm>
        </p:spPr>
        <p:txBody>
          <a:bodyPr vert="horz"/>
          <a:lstStyle/>
          <a:p>
            <a:r>
              <a:rPr lang="en-GB" dirty="0"/>
              <a:t>Facts about the </a:t>
            </a:r>
            <a:br>
              <a:rPr lang="en-GB" dirty="0"/>
            </a:br>
            <a:r>
              <a:rPr lang="en-GB" dirty="0"/>
              <a:t>Novo Nordisk Foundation (2020)</a:t>
            </a:r>
          </a:p>
        </p:txBody>
      </p:sp>
      <p:sp>
        <p:nvSpPr>
          <p:cNvPr id="26" name="Pladsholder til indhold 16">
            <a:extLst>
              <a:ext uri="{FF2B5EF4-FFF2-40B4-BE49-F238E27FC236}">
                <a16:creationId xmlns:a16="http://schemas.microsoft.com/office/drawing/2014/main" id="{CC3E42E3-A6B3-499D-A3E2-2E59EA50DA54}"/>
              </a:ext>
            </a:extLst>
          </p:cNvPr>
          <p:cNvSpPr txBox="1">
            <a:spLocks/>
          </p:cNvSpPr>
          <p:nvPr/>
        </p:nvSpPr>
        <p:spPr>
          <a:xfrm>
            <a:off x="648421" y="4560286"/>
            <a:ext cx="4923679" cy="2129254"/>
          </a:xfrm>
          <a:prstGeom prst="rect">
            <a:avLst/>
          </a:prstGeom>
        </p:spPr>
        <p:txBody>
          <a:bodyPr>
            <a:normAutofit/>
          </a:bodyPr>
          <a:lstStyle>
            <a:lvl1pPr marL="270000" indent="-270000" algn="l" defTabSz="13716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GB" sz="3000" kern="1200" spc="1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40000" indent="-269082" algn="l" defTabSz="13716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700" kern="1200" spc="1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09625" indent="-270000" algn="l" defTabSz="13716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 spc="1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080000" indent="-270000" algn="l" defTabSz="13716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1345407" algn="l"/>
              </a:tabLst>
              <a:defRPr sz="2100" kern="1200" spc="1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13716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lang="en-GB" sz="3000" b="1" kern="1200" cap="none" spc="10" baseline="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13716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3000" kern="1200" spc="1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70000" indent="-270000" algn="l" defTabSz="13716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2100" kern="1200" spc="1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70000" indent="-270000" algn="l" defTabSz="13716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2100" kern="1200" spc="1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70000" indent="-270000" algn="l" defTabSz="1371600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2100" kern="1200" spc="1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46">
              <a:spcAft>
                <a:spcPts val="800"/>
              </a:spcAft>
              <a:buClr>
                <a:srgbClr val="001965"/>
              </a:buClr>
              <a:buNone/>
            </a:pPr>
            <a:r>
              <a:rPr lang="en-US" sz="1600" b="1" spc="7" dirty="0">
                <a:solidFill>
                  <a:srgbClr val="000000"/>
                </a:solidFill>
                <a:latin typeface="Novo Apply Sans"/>
              </a:rPr>
              <a:t>Two objectives:</a:t>
            </a:r>
          </a:p>
          <a:p>
            <a:pPr marL="0" indent="0" defTabSz="914446">
              <a:spcAft>
                <a:spcPts val="800"/>
              </a:spcAft>
              <a:buClr>
                <a:srgbClr val="001965"/>
              </a:buClr>
              <a:buNone/>
            </a:pPr>
            <a:r>
              <a:rPr lang="en-US" sz="1200" b="1" spc="7" dirty="0">
                <a:solidFill>
                  <a:srgbClr val="000000"/>
                </a:solidFill>
                <a:latin typeface="Novo Apply Sans"/>
              </a:rPr>
              <a:t>Corporate objective</a:t>
            </a:r>
          </a:p>
          <a:p>
            <a:pPr marL="180009" indent="-180009" defTabSz="914446">
              <a:spcAft>
                <a:spcPts val="800"/>
              </a:spcAft>
              <a:buClr>
                <a:srgbClr val="FFFFFF"/>
              </a:buClr>
            </a:pPr>
            <a:r>
              <a:rPr lang="en-US" sz="1200" spc="7" dirty="0">
                <a:solidFill>
                  <a:srgbClr val="000000"/>
                </a:solidFill>
                <a:latin typeface="Novo Apply Sans"/>
              </a:rPr>
              <a:t>To provide a stable basis for the commercial and research activities of our companies</a:t>
            </a:r>
            <a:r>
              <a:rPr lang="en-US" sz="1200" spc="7" baseline="30000" dirty="0">
                <a:solidFill>
                  <a:srgbClr val="000000"/>
                </a:solidFill>
                <a:latin typeface="Novo Apply Sans"/>
              </a:rPr>
              <a:t>.</a:t>
            </a:r>
          </a:p>
          <a:p>
            <a:pPr marL="0" indent="0" defTabSz="914446">
              <a:spcBef>
                <a:spcPts val="1600"/>
              </a:spcBef>
              <a:spcAft>
                <a:spcPts val="800"/>
              </a:spcAft>
              <a:buClr>
                <a:srgbClr val="001965"/>
              </a:buClr>
              <a:buNone/>
            </a:pPr>
            <a:r>
              <a:rPr lang="en-US" sz="1200" b="1" spc="7" dirty="0">
                <a:solidFill>
                  <a:srgbClr val="000000"/>
                </a:solidFill>
                <a:latin typeface="Novo Apply Sans"/>
              </a:rPr>
              <a:t>Grant-giving objectives</a:t>
            </a:r>
          </a:p>
          <a:p>
            <a:pPr marL="180009" indent="-180009" defTabSz="914446">
              <a:spcAft>
                <a:spcPts val="800"/>
              </a:spcAft>
              <a:buClr>
                <a:srgbClr val="FFFFFF"/>
              </a:buClr>
            </a:pPr>
            <a:r>
              <a:rPr lang="en-US" sz="1200" spc="7" dirty="0">
                <a:solidFill>
                  <a:srgbClr val="000000"/>
                </a:solidFill>
                <a:latin typeface="Novo Apply Sans"/>
              </a:rPr>
              <a:t>To support scientific, research hospital, humanitarian and social purposes.</a:t>
            </a:r>
          </a:p>
        </p:txBody>
      </p:sp>
    </p:spTree>
    <p:extLst>
      <p:ext uri="{BB962C8B-B14F-4D97-AF65-F5344CB8AC3E}">
        <p14:creationId xmlns:p14="http://schemas.microsoft.com/office/powerpoint/2010/main" val="1536196154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7" name="Object 136" hidden="1">
            <a:extLst>
              <a:ext uri="{FF2B5EF4-FFF2-40B4-BE49-F238E27FC236}">
                <a16:creationId xmlns:a16="http://schemas.microsoft.com/office/drawing/2014/main" id="{FD14F00E-AFC4-407D-8A84-37E5ECE031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5" name="think-cell Slide" r:id="rId5" imgW="408" imgH="408" progId="TCLayout.ActiveDocument.1">
                  <p:embed/>
                </p:oleObj>
              </mc:Choice>
              <mc:Fallback>
                <p:oleObj name="think-cell Slide" r:id="rId5" imgW="408" imgH="408" progId="TCLayout.ActiveDocument.1">
                  <p:embed/>
                  <p:pic>
                    <p:nvPicPr>
                      <p:cNvPr id="137" name="Object 136" hidden="1">
                        <a:extLst>
                          <a:ext uri="{FF2B5EF4-FFF2-40B4-BE49-F238E27FC236}">
                            <a16:creationId xmlns:a16="http://schemas.microsoft.com/office/drawing/2014/main" id="{FD14F00E-AFC4-407D-8A84-37E5ECE031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9" name="!!Square3">
            <a:extLst>
              <a:ext uri="{FF2B5EF4-FFF2-40B4-BE49-F238E27FC236}">
                <a16:creationId xmlns:a16="http://schemas.microsoft.com/office/drawing/2014/main" id="{2A427FFF-3034-494F-BFEF-3A82BB5AC354}"/>
              </a:ext>
            </a:extLst>
          </p:cNvPr>
          <p:cNvSpPr/>
          <p:nvPr/>
        </p:nvSpPr>
        <p:spPr>
          <a:xfrm>
            <a:off x="3660641" y="2946995"/>
            <a:ext cx="1002791" cy="1077327"/>
          </a:xfrm>
          <a:custGeom>
            <a:avLst/>
            <a:gdLst>
              <a:gd name="connsiteX0" fmla="*/ 6282563 w 7171090"/>
              <a:gd name="connsiteY0" fmla="*/ 7704117 h 7704116"/>
              <a:gd name="connsiteX1" fmla="*/ 888528 w 7171090"/>
              <a:gd name="connsiteY1" fmla="*/ 7704117 h 7704116"/>
              <a:gd name="connsiteX2" fmla="*/ 0 w 7171090"/>
              <a:gd name="connsiteY2" fmla="*/ 6815589 h 7704116"/>
              <a:gd name="connsiteX3" fmla="*/ 0 w 7171090"/>
              <a:gd name="connsiteY3" fmla="*/ 888528 h 7704116"/>
              <a:gd name="connsiteX4" fmla="*/ 888528 w 7171090"/>
              <a:gd name="connsiteY4" fmla="*/ 0 h 7704116"/>
              <a:gd name="connsiteX5" fmla="*/ 6282563 w 7171090"/>
              <a:gd name="connsiteY5" fmla="*/ 0 h 7704116"/>
              <a:gd name="connsiteX6" fmla="*/ 7171091 w 7171090"/>
              <a:gd name="connsiteY6" fmla="*/ 888528 h 7704116"/>
              <a:gd name="connsiteX7" fmla="*/ 7171091 w 7171090"/>
              <a:gd name="connsiteY7" fmla="*/ 6815741 h 7704116"/>
              <a:gd name="connsiteX8" fmla="*/ 6282563 w 7171090"/>
              <a:gd name="connsiteY8" fmla="*/ 7704117 h 77041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71090" h="7704116">
                <a:moveTo>
                  <a:pt x="6282563" y="7704117"/>
                </a:moveTo>
                <a:lnTo>
                  <a:pt x="888528" y="7704117"/>
                </a:lnTo>
                <a:cubicBezTo>
                  <a:pt x="397719" y="7704117"/>
                  <a:pt x="0" y="7306246"/>
                  <a:pt x="0" y="6815589"/>
                </a:cubicBezTo>
                <a:lnTo>
                  <a:pt x="0" y="888528"/>
                </a:lnTo>
                <a:cubicBezTo>
                  <a:pt x="0" y="397719"/>
                  <a:pt x="397719" y="0"/>
                  <a:pt x="888528" y="0"/>
                </a:cubicBezTo>
                <a:lnTo>
                  <a:pt x="6282563" y="0"/>
                </a:lnTo>
                <a:cubicBezTo>
                  <a:pt x="6773220" y="0"/>
                  <a:pt x="7171091" y="397719"/>
                  <a:pt x="7171091" y="888528"/>
                </a:cubicBezTo>
                <a:lnTo>
                  <a:pt x="7171091" y="6815741"/>
                </a:lnTo>
                <a:cubicBezTo>
                  <a:pt x="7170939" y="7306246"/>
                  <a:pt x="6773220" y="7704117"/>
                  <a:pt x="6282563" y="7704117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0"/>
            </a:schemeClr>
          </a:solidFill>
          <a:ln w="15175" cap="flat">
            <a:noFill/>
            <a:prstDash val="solid"/>
            <a:miter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defTabSz="914446"/>
            <a:endParaRPr lang="en-GB">
              <a:solidFill>
                <a:srgbClr val="000000"/>
              </a:solidFill>
              <a:latin typeface="Novo Apply Sans"/>
            </a:endParaRPr>
          </a:p>
        </p:txBody>
      </p:sp>
      <p:sp>
        <p:nvSpPr>
          <p:cNvPr id="130" name="!!Square2">
            <a:extLst>
              <a:ext uri="{FF2B5EF4-FFF2-40B4-BE49-F238E27FC236}">
                <a16:creationId xmlns:a16="http://schemas.microsoft.com/office/drawing/2014/main" id="{02B60FB4-8CAA-4911-85A0-584FD489A732}"/>
              </a:ext>
            </a:extLst>
          </p:cNvPr>
          <p:cNvSpPr/>
          <p:nvPr/>
        </p:nvSpPr>
        <p:spPr>
          <a:xfrm>
            <a:off x="2903091" y="2902401"/>
            <a:ext cx="1002791" cy="1077327"/>
          </a:xfrm>
          <a:custGeom>
            <a:avLst/>
            <a:gdLst>
              <a:gd name="connsiteX0" fmla="*/ 6282563 w 7171090"/>
              <a:gd name="connsiteY0" fmla="*/ 7704117 h 7704116"/>
              <a:gd name="connsiteX1" fmla="*/ 888528 w 7171090"/>
              <a:gd name="connsiteY1" fmla="*/ 7704117 h 7704116"/>
              <a:gd name="connsiteX2" fmla="*/ 0 w 7171090"/>
              <a:gd name="connsiteY2" fmla="*/ 6815589 h 7704116"/>
              <a:gd name="connsiteX3" fmla="*/ 0 w 7171090"/>
              <a:gd name="connsiteY3" fmla="*/ 888528 h 7704116"/>
              <a:gd name="connsiteX4" fmla="*/ 888528 w 7171090"/>
              <a:gd name="connsiteY4" fmla="*/ 0 h 7704116"/>
              <a:gd name="connsiteX5" fmla="*/ 6282563 w 7171090"/>
              <a:gd name="connsiteY5" fmla="*/ 0 h 7704116"/>
              <a:gd name="connsiteX6" fmla="*/ 7171091 w 7171090"/>
              <a:gd name="connsiteY6" fmla="*/ 888528 h 7704116"/>
              <a:gd name="connsiteX7" fmla="*/ 7171091 w 7171090"/>
              <a:gd name="connsiteY7" fmla="*/ 6815741 h 7704116"/>
              <a:gd name="connsiteX8" fmla="*/ 6282563 w 7171090"/>
              <a:gd name="connsiteY8" fmla="*/ 7704117 h 77041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71090" h="7704116">
                <a:moveTo>
                  <a:pt x="6282563" y="7704117"/>
                </a:moveTo>
                <a:lnTo>
                  <a:pt x="888528" y="7704117"/>
                </a:lnTo>
                <a:cubicBezTo>
                  <a:pt x="397719" y="7704117"/>
                  <a:pt x="0" y="7306246"/>
                  <a:pt x="0" y="6815589"/>
                </a:cubicBezTo>
                <a:lnTo>
                  <a:pt x="0" y="888528"/>
                </a:lnTo>
                <a:cubicBezTo>
                  <a:pt x="0" y="397719"/>
                  <a:pt x="397719" y="0"/>
                  <a:pt x="888528" y="0"/>
                </a:cubicBezTo>
                <a:lnTo>
                  <a:pt x="6282563" y="0"/>
                </a:lnTo>
                <a:cubicBezTo>
                  <a:pt x="6773220" y="0"/>
                  <a:pt x="7171091" y="397719"/>
                  <a:pt x="7171091" y="888528"/>
                </a:cubicBezTo>
                <a:lnTo>
                  <a:pt x="7171091" y="6815741"/>
                </a:lnTo>
                <a:cubicBezTo>
                  <a:pt x="7170939" y="7306246"/>
                  <a:pt x="6773220" y="7704117"/>
                  <a:pt x="6282563" y="7704117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0"/>
            </a:schemeClr>
          </a:solidFill>
          <a:ln w="15175" cap="flat">
            <a:noFill/>
            <a:prstDash val="solid"/>
            <a:miter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defTabSz="914446"/>
            <a:endParaRPr lang="en-GB">
              <a:solidFill>
                <a:srgbClr val="000000"/>
              </a:solidFill>
              <a:latin typeface="Novo Apply Sans"/>
            </a:endParaRPr>
          </a:p>
        </p:txBody>
      </p:sp>
      <p:sp>
        <p:nvSpPr>
          <p:cNvPr id="138" name="!!Square1">
            <a:extLst>
              <a:ext uri="{FF2B5EF4-FFF2-40B4-BE49-F238E27FC236}">
                <a16:creationId xmlns:a16="http://schemas.microsoft.com/office/drawing/2014/main" id="{9DF842E3-EBF6-4B5F-85B3-777324549207}"/>
              </a:ext>
            </a:extLst>
          </p:cNvPr>
          <p:cNvSpPr/>
          <p:nvPr/>
        </p:nvSpPr>
        <p:spPr>
          <a:xfrm>
            <a:off x="1568344" y="2958131"/>
            <a:ext cx="1002791" cy="1077327"/>
          </a:xfrm>
          <a:custGeom>
            <a:avLst/>
            <a:gdLst>
              <a:gd name="connsiteX0" fmla="*/ 6282563 w 7171090"/>
              <a:gd name="connsiteY0" fmla="*/ 7704117 h 7704116"/>
              <a:gd name="connsiteX1" fmla="*/ 888528 w 7171090"/>
              <a:gd name="connsiteY1" fmla="*/ 7704117 h 7704116"/>
              <a:gd name="connsiteX2" fmla="*/ 0 w 7171090"/>
              <a:gd name="connsiteY2" fmla="*/ 6815589 h 7704116"/>
              <a:gd name="connsiteX3" fmla="*/ 0 w 7171090"/>
              <a:gd name="connsiteY3" fmla="*/ 888528 h 7704116"/>
              <a:gd name="connsiteX4" fmla="*/ 888528 w 7171090"/>
              <a:gd name="connsiteY4" fmla="*/ 0 h 7704116"/>
              <a:gd name="connsiteX5" fmla="*/ 6282563 w 7171090"/>
              <a:gd name="connsiteY5" fmla="*/ 0 h 7704116"/>
              <a:gd name="connsiteX6" fmla="*/ 7171091 w 7171090"/>
              <a:gd name="connsiteY6" fmla="*/ 888528 h 7704116"/>
              <a:gd name="connsiteX7" fmla="*/ 7171091 w 7171090"/>
              <a:gd name="connsiteY7" fmla="*/ 6815741 h 7704116"/>
              <a:gd name="connsiteX8" fmla="*/ 6282563 w 7171090"/>
              <a:gd name="connsiteY8" fmla="*/ 7704117 h 77041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71090" h="7704116">
                <a:moveTo>
                  <a:pt x="6282563" y="7704117"/>
                </a:moveTo>
                <a:lnTo>
                  <a:pt x="888528" y="7704117"/>
                </a:lnTo>
                <a:cubicBezTo>
                  <a:pt x="397719" y="7704117"/>
                  <a:pt x="0" y="7306246"/>
                  <a:pt x="0" y="6815589"/>
                </a:cubicBezTo>
                <a:lnTo>
                  <a:pt x="0" y="888528"/>
                </a:lnTo>
                <a:cubicBezTo>
                  <a:pt x="0" y="397719"/>
                  <a:pt x="397719" y="0"/>
                  <a:pt x="888528" y="0"/>
                </a:cubicBezTo>
                <a:lnTo>
                  <a:pt x="6282563" y="0"/>
                </a:lnTo>
                <a:cubicBezTo>
                  <a:pt x="6773220" y="0"/>
                  <a:pt x="7171091" y="397719"/>
                  <a:pt x="7171091" y="888528"/>
                </a:cubicBezTo>
                <a:lnTo>
                  <a:pt x="7171091" y="6815741"/>
                </a:lnTo>
                <a:cubicBezTo>
                  <a:pt x="7170939" y="7306246"/>
                  <a:pt x="6773220" y="7704117"/>
                  <a:pt x="6282563" y="7704117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0"/>
            </a:schemeClr>
          </a:solidFill>
          <a:ln w="15175" cap="flat">
            <a:noFill/>
            <a:prstDash val="solid"/>
            <a:miter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defTabSz="914446"/>
            <a:endParaRPr lang="en-GB">
              <a:solidFill>
                <a:srgbClr val="000000"/>
              </a:solidFill>
              <a:latin typeface="Novo Apply Sans"/>
            </a:endParaRPr>
          </a:p>
        </p:txBody>
      </p:sp>
      <p:sp>
        <p:nvSpPr>
          <p:cNvPr id="128" name="!!Square">
            <a:extLst>
              <a:ext uri="{FF2B5EF4-FFF2-40B4-BE49-F238E27FC236}">
                <a16:creationId xmlns:a16="http://schemas.microsoft.com/office/drawing/2014/main" id="{EA7291C2-449F-438D-AB8B-A8878FF5078B}"/>
              </a:ext>
            </a:extLst>
          </p:cNvPr>
          <p:cNvSpPr/>
          <p:nvPr/>
        </p:nvSpPr>
        <p:spPr>
          <a:xfrm>
            <a:off x="8361732" y="2832021"/>
            <a:ext cx="999775" cy="1074088"/>
          </a:xfrm>
          <a:custGeom>
            <a:avLst/>
            <a:gdLst>
              <a:gd name="connsiteX0" fmla="*/ 6282563 w 7171090"/>
              <a:gd name="connsiteY0" fmla="*/ 7704117 h 7704116"/>
              <a:gd name="connsiteX1" fmla="*/ 888528 w 7171090"/>
              <a:gd name="connsiteY1" fmla="*/ 7704117 h 7704116"/>
              <a:gd name="connsiteX2" fmla="*/ 0 w 7171090"/>
              <a:gd name="connsiteY2" fmla="*/ 6815589 h 7704116"/>
              <a:gd name="connsiteX3" fmla="*/ 0 w 7171090"/>
              <a:gd name="connsiteY3" fmla="*/ 888528 h 7704116"/>
              <a:gd name="connsiteX4" fmla="*/ 888528 w 7171090"/>
              <a:gd name="connsiteY4" fmla="*/ 0 h 7704116"/>
              <a:gd name="connsiteX5" fmla="*/ 6282563 w 7171090"/>
              <a:gd name="connsiteY5" fmla="*/ 0 h 7704116"/>
              <a:gd name="connsiteX6" fmla="*/ 7171091 w 7171090"/>
              <a:gd name="connsiteY6" fmla="*/ 888528 h 7704116"/>
              <a:gd name="connsiteX7" fmla="*/ 7171091 w 7171090"/>
              <a:gd name="connsiteY7" fmla="*/ 6815741 h 7704116"/>
              <a:gd name="connsiteX8" fmla="*/ 6282563 w 7171090"/>
              <a:gd name="connsiteY8" fmla="*/ 7704117 h 77041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71090" h="7704116">
                <a:moveTo>
                  <a:pt x="6282563" y="7704117"/>
                </a:moveTo>
                <a:lnTo>
                  <a:pt x="888528" y="7704117"/>
                </a:lnTo>
                <a:cubicBezTo>
                  <a:pt x="397719" y="7704117"/>
                  <a:pt x="0" y="7306246"/>
                  <a:pt x="0" y="6815589"/>
                </a:cubicBezTo>
                <a:lnTo>
                  <a:pt x="0" y="888528"/>
                </a:lnTo>
                <a:cubicBezTo>
                  <a:pt x="0" y="397719"/>
                  <a:pt x="397719" y="0"/>
                  <a:pt x="888528" y="0"/>
                </a:cubicBezTo>
                <a:lnTo>
                  <a:pt x="6282563" y="0"/>
                </a:lnTo>
                <a:cubicBezTo>
                  <a:pt x="6773220" y="0"/>
                  <a:pt x="7171091" y="397719"/>
                  <a:pt x="7171091" y="888528"/>
                </a:cubicBezTo>
                <a:lnTo>
                  <a:pt x="7171091" y="6815741"/>
                </a:lnTo>
                <a:cubicBezTo>
                  <a:pt x="7170939" y="7306246"/>
                  <a:pt x="6773220" y="7704117"/>
                  <a:pt x="6282563" y="7704117"/>
                </a:cubicBezTo>
                <a:close/>
              </a:path>
            </a:pathLst>
          </a:custGeom>
          <a:solidFill>
            <a:srgbClr val="F2F2F2">
              <a:alpha val="0"/>
            </a:srgbClr>
          </a:solidFill>
          <a:ln w="15175" cap="flat">
            <a:noFill/>
            <a:prstDash val="solid"/>
            <a:miter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defTabSz="914446"/>
            <a:endParaRPr lang="en-GB" dirty="0">
              <a:solidFill>
                <a:srgbClr val="000000"/>
              </a:solidFill>
              <a:latin typeface="Novo Apply Sans"/>
            </a:endParaRPr>
          </a:p>
        </p:txBody>
      </p: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DD527BAF-17F7-4F41-967C-A5B84EE5C446}"/>
              </a:ext>
            </a:extLst>
          </p:cNvPr>
          <p:cNvGrpSpPr/>
          <p:nvPr/>
        </p:nvGrpSpPr>
        <p:grpSpPr>
          <a:xfrm>
            <a:off x="10150623" y="2784238"/>
            <a:ext cx="1246732" cy="1355081"/>
            <a:chOff x="16255154" y="4176358"/>
            <a:chExt cx="1870098" cy="2032622"/>
          </a:xfrm>
        </p:grpSpPr>
        <p:grpSp>
          <p:nvGrpSpPr>
            <p:cNvPr id="126" name="Group 125">
              <a:extLst>
                <a:ext uri="{FF2B5EF4-FFF2-40B4-BE49-F238E27FC236}">
                  <a16:creationId xmlns:a16="http://schemas.microsoft.com/office/drawing/2014/main" id="{C2BA0775-9E20-485E-9DF7-0B824D8557AF}"/>
                </a:ext>
              </a:extLst>
            </p:cNvPr>
            <p:cNvGrpSpPr/>
            <p:nvPr/>
          </p:nvGrpSpPr>
          <p:grpSpPr>
            <a:xfrm>
              <a:off x="16255154" y="4176358"/>
              <a:ext cx="1870098" cy="2026950"/>
              <a:chOff x="16191018" y="4343400"/>
              <a:chExt cx="1561866" cy="1692866"/>
            </a:xfrm>
          </p:grpSpPr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B4072916-F930-41CB-BB54-D6D44C11E695}"/>
                  </a:ext>
                </a:extLst>
              </p:cNvPr>
              <p:cNvSpPr/>
              <p:nvPr/>
            </p:nvSpPr>
            <p:spPr>
              <a:xfrm>
                <a:off x="16320874" y="4491916"/>
                <a:ext cx="1299213" cy="1395807"/>
              </a:xfrm>
              <a:custGeom>
                <a:avLst/>
                <a:gdLst>
                  <a:gd name="connsiteX0" fmla="*/ 3985641 w 4542853"/>
                  <a:gd name="connsiteY0" fmla="*/ 4880610 h 4880609"/>
                  <a:gd name="connsiteX1" fmla="*/ 557308 w 4542853"/>
                  <a:gd name="connsiteY1" fmla="*/ 4880610 h 4880609"/>
                  <a:gd name="connsiteX2" fmla="*/ 0 w 4542853"/>
                  <a:gd name="connsiteY2" fmla="*/ 4323303 h 4880609"/>
                  <a:gd name="connsiteX3" fmla="*/ 0 w 4542853"/>
                  <a:gd name="connsiteY3" fmla="*/ 557308 h 4880609"/>
                  <a:gd name="connsiteX4" fmla="*/ 557308 w 4542853"/>
                  <a:gd name="connsiteY4" fmla="*/ 0 h 4880609"/>
                  <a:gd name="connsiteX5" fmla="*/ 3985546 w 4542853"/>
                  <a:gd name="connsiteY5" fmla="*/ 0 h 4880609"/>
                  <a:gd name="connsiteX6" fmla="*/ 4542854 w 4542853"/>
                  <a:gd name="connsiteY6" fmla="*/ 557308 h 4880609"/>
                  <a:gd name="connsiteX7" fmla="*/ 4542854 w 4542853"/>
                  <a:gd name="connsiteY7" fmla="*/ 4323303 h 4880609"/>
                  <a:gd name="connsiteX8" fmla="*/ 3985641 w 4542853"/>
                  <a:gd name="connsiteY8" fmla="*/ 4880610 h 48806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42853" h="4880609">
                    <a:moveTo>
                      <a:pt x="3985641" y="4880610"/>
                    </a:moveTo>
                    <a:lnTo>
                      <a:pt x="557308" y="4880610"/>
                    </a:lnTo>
                    <a:cubicBezTo>
                      <a:pt x="249555" y="4880610"/>
                      <a:pt x="0" y="4631150"/>
                      <a:pt x="0" y="4323303"/>
                    </a:cubicBezTo>
                    <a:lnTo>
                      <a:pt x="0" y="557308"/>
                    </a:lnTo>
                    <a:cubicBezTo>
                      <a:pt x="0" y="249555"/>
                      <a:pt x="249460" y="0"/>
                      <a:pt x="557308" y="0"/>
                    </a:cubicBezTo>
                    <a:lnTo>
                      <a:pt x="3985546" y="0"/>
                    </a:lnTo>
                    <a:cubicBezTo>
                      <a:pt x="4293299" y="0"/>
                      <a:pt x="4542854" y="249460"/>
                      <a:pt x="4542854" y="557308"/>
                    </a:cubicBezTo>
                    <a:lnTo>
                      <a:pt x="4542854" y="4323303"/>
                    </a:lnTo>
                    <a:cubicBezTo>
                      <a:pt x="4542854" y="4631055"/>
                      <a:pt x="4293394" y="4880610"/>
                      <a:pt x="3985641" y="4880610"/>
                    </a:cubicBezTo>
                    <a:close/>
                  </a:path>
                </a:pathLst>
              </a:custGeom>
              <a:solidFill>
                <a:srgbClr val="CCCCC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446"/>
                <a:endParaRPr lang="en-GB">
                  <a:solidFill>
                    <a:srgbClr val="000000"/>
                  </a:solidFill>
                  <a:latin typeface="Novo Apply Sans"/>
                </a:endParaRPr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45583784-141F-4414-B268-1A325948B16E}"/>
                  </a:ext>
                </a:extLst>
              </p:cNvPr>
              <p:cNvSpPr/>
              <p:nvPr/>
            </p:nvSpPr>
            <p:spPr>
              <a:xfrm>
                <a:off x="16320302" y="4498835"/>
                <a:ext cx="1286355" cy="1381969"/>
              </a:xfrm>
              <a:custGeom>
                <a:avLst/>
                <a:gdLst>
                  <a:gd name="connsiteX0" fmla="*/ 3940588 w 4497895"/>
                  <a:gd name="connsiteY0" fmla="*/ 4832223 h 4832223"/>
                  <a:gd name="connsiteX1" fmla="*/ 557308 w 4497895"/>
                  <a:gd name="connsiteY1" fmla="*/ 4832223 h 4832223"/>
                  <a:gd name="connsiteX2" fmla="*/ 0 w 4497895"/>
                  <a:gd name="connsiteY2" fmla="*/ 4274915 h 4832223"/>
                  <a:gd name="connsiteX3" fmla="*/ 0 w 4497895"/>
                  <a:gd name="connsiteY3" fmla="*/ 557308 h 4832223"/>
                  <a:gd name="connsiteX4" fmla="*/ 557308 w 4497895"/>
                  <a:gd name="connsiteY4" fmla="*/ 0 h 4832223"/>
                  <a:gd name="connsiteX5" fmla="*/ 3940588 w 4497895"/>
                  <a:gd name="connsiteY5" fmla="*/ 0 h 4832223"/>
                  <a:gd name="connsiteX6" fmla="*/ 4497896 w 4497895"/>
                  <a:gd name="connsiteY6" fmla="*/ 557308 h 4832223"/>
                  <a:gd name="connsiteX7" fmla="*/ 4497896 w 4497895"/>
                  <a:gd name="connsiteY7" fmla="*/ 4275011 h 4832223"/>
                  <a:gd name="connsiteX8" fmla="*/ 3940588 w 4497895"/>
                  <a:gd name="connsiteY8" fmla="*/ 4832223 h 48322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497895" h="4832223">
                    <a:moveTo>
                      <a:pt x="3940588" y="4832223"/>
                    </a:moveTo>
                    <a:lnTo>
                      <a:pt x="557308" y="4832223"/>
                    </a:lnTo>
                    <a:cubicBezTo>
                      <a:pt x="249555" y="4832223"/>
                      <a:pt x="0" y="4582764"/>
                      <a:pt x="0" y="4274915"/>
                    </a:cubicBezTo>
                    <a:lnTo>
                      <a:pt x="0" y="557308"/>
                    </a:lnTo>
                    <a:cubicBezTo>
                      <a:pt x="0" y="249555"/>
                      <a:pt x="249460" y="0"/>
                      <a:pt x="557308" y="0"/>
                    </a:cubicBezTo>
                    <a:lnTo>
                      <a:pt x="3940588" y="0"/>
                    </a:lnTo>
                    <a:cubicBezTo>
                      <a:pt x="4248341" y="0"/>
                      <a:pt x="4497896" y="249460"/>
                      <a:pt x="4497896" y="557308"/>
                    </a:cubicBezTo>
                    <a:lnTo>
                      <a:pt x="4497896" y="4275011"/>
                    </a:lnTo>
                    <a:cubicBezTo>
                      <a:pt x="4497896" y="4582764"/>
                      <a:pt x="4248341" y="4832223"/>
                      <a:pt x="3940588" y="4832223"/>
                    </a:cubicBezTo>
                    <a:close/>
                  </a:path>
                </a:pathLst>
              </a:custGeom>
              <a:solidFill>
                <a:srgbClr val="F2F2F2"/>
              </a:solidFill>
              <a:ln w="9525" cap="flat">
                <a:noFill/>
                <a:prstDash val="solid"/>
                <a:miter/>
              </a:ln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defTabSz="914446"/>
                <a:endParaRPr lang="en-GB">
                  <a:solidFill>
                    <a:srgbClr val="000000"/>
                  </a:solidFill>
                  <a:latin typeface="Novo Apply Sans"/>
                </a:endParaRPr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3E50ACAD-733C-4A14-83C8-D4909912EF0D}"/>
                  </a:ext>
                </a:extLst>
              </p:cNvPr>
              <p:cNvSpPr/>
              <p:nvPr/>
            </p:nvSpPr>
            <p:spPr>
              <a:xfrm>
                <a:off x="16191018" y="4360371"/>
                <a:ext cx="1544923" cy="1658897"/>
              </a:xfrm>
              <a:custGeom>
                <a:avLst/>
                <a:gdLst>
                  <a:gd name="connsiteX0" fmla="*/ 1147858 w 5402008"/>
                  <a:gd name="connsiteY0" fmla="*/ 19717 h 5800534"/>
                  <a:gd name="connsiteX1" fmla="*/ 1128141 w 5402008"/>
                  <a:gd name="connsiteY1" fmla="*/ 0 h 5800534"/>
                  <a:gd name="connsiteX2" fmla="*/ 950976 w 5402008"/>
                  <a:gd name="connsiteY2" fmla="*/ 0 h 5800534"/>
                  <a:gd name="connsiteX3" fmla="*/ 931259 w 5402008"/>
                  <a:gd name="connsiteY3" fmla="*/ 19717 h 5800534"/>
                  <a:gd name="connsiteX4" fmla="*/ 950976 w 5402008"/>
                  <a:gd name="connsiteY4" fmla="*/ 39434 h 5800534"/>
                  <a:gd name="connsiteX5" fmla="*/ 1128141 w 5402008"/>
                  <a:gd name="connsiteY5" fmla="*/ 39434 h 5800534"/>
                  <a:gd name="connsiteX6" fmla="*/ 1147858 w 5402008"/>
                  <a:gd name="connsiteY6" fmla="*/ 19717 h 5800534"/>
                  <a:gd name="connsiteX7" fmla="*/ 1261872 w 5402008"/>
                  <a:gd name="connsiteY7" fmla="*/ 5761101 h 5800534"/>
                  <a:gd name="connsiteX8" fmla="*/ 1084707 w 5402008"/>
                  <a:gd name="connsiteY8" fmla="*/ 5761101 h 5800534"/>
                  <a:gd name="connsiteX9" fmla="*/ 1064990 w 5402008"/>
                  <a:gd name="connsiteY9" fmla="*/ 5780818 h 5800534"/>
                  <a:gd name="connsiteX10" fmla="*/ 1084707 w 5402008"/>
                  <a:gd name="connsiteY10" fmla="*/ 5800535 h 5800534"/>
                  <a:gd name="connsiteX11" fmla="*/ 1261872 w 5402008"/>
                  <a:gd name="connsiteY11" fmla="*/ 5800535 h 5800534"/>
                  <a:gd name="connsiteX12" fmla="*/ 1281589 w 5402008"/>
                  <a:gd name="connsiteY12" fmla="*/ 5780818 h 5800534"/>
                  <a:gd name="connsiteX13" fmla="*/ 1261872 w 5402008"/>
                  <a:gd name="connsiteY13" fmla="*/ 5761101 h 5800534"/>
                  <a:gd name="connsiteX14" fmla="*/ 907637 w 5402008"/>
                  <a:gd name="connsiteY14" fmla="*/ 5761101 h 5800534"/>
                  <a:gd name="connsiteX15" fmla="*/ 730472 w 5402008"/>
                  <a:gd name="connsiteY15" fmla="*/ 5761101 h 5800534"/>
                  <a:gd name="connsiteX16" fmla="*/ 710756 w 5402008"/>
                  <a:gd name="connsiteY16" fmla="*/ 5780818 h 5800534"/>
                  <a:gd name="connsiteX17" fmla="*/ 730472 w 5402008"/>
                  <a:gd name="connsiteY17" fmla="*/ 5800535 h 5800534"/>
                  <a:gd name="connsiteX18" fmla="*/ 907637 w 5402008"/>
                  <a:gd name="connsiteY18" fmla="*/ 5800535 h 5800534"/>
                  <a:gd name="connsiteX19" fmla="*/ 927354 w 5402008"/>
                  <a:gd name="connsiteY19" fmla="*/ 5780818 h 5800534"/>
                  <a:gd name="connsiteX20" fmla="*/ 907637 w 5402008"/>
                  <a:gd name="connsiteY20" fmla="*/ 5761101 h 5800534"/>
                  <a:gd name="connsiteX21" fmla="*/ 441293 w 5402008"/>
                  <a:gd name="connsiteY21" fmla="*/ 40767 h 5800534"/>
                  <a:gd name="connsiteX22" fmla="*/ 416433 w 5402008"/>
                  <a:gd name="connsiteY22" fmla="*/ 27908 h 5800534"/>
                  <a:gd name="connsiteX23" fmla="*/ 253079 w 5402008"/>
                  <a:gd name="connsiteY23" fmla="*/ 109157 h 5800534"/>
                  <a:gd name="connsiteX24" fmla="*/ 248317 w 5402008"/>
                  <a:gd name="connsiteY24" fmla="*/ 136684 h 5800534"/>
                  <a:gd name="connsiteX25" fmla="*/ 264509 w 5402008"/>
                  <a:gd name="connsiteY25" fmla="*/ 145066 h 5800534"/>
                  <a:gd name="connsiteX26" fmla="*/ 275939 w 5402008"/>
                  <a:gd name="connsiteY26" fmla="*/ 141446 h 5800534"/>
                  <a:gd name="connsiteX27" fmla="*/ 428435 w 5402008"/>
                  <a:gd name="connsiteY27" fmla="*/ 65532 h 5800534"/>
                  <a:gd name="connsiteX28" fmla="*/ 441293 w 5402008"/>
                  <a:gd name="connsiteY28" fmla="*/ 40767 h 5800534"/>
                  <a:gd name="connsiteX29" fmla="*/ 2678716 w 5402008"/>
                  <a:gd name="connsiteY29" fmla="*/ 5761101 h 5800534"/>
                  <a:gd name="connsiteX30" fmla="*/ 2501551 w 5402008"/>
                  <a:gd name="connsiteY30" fmla="*/ 5761101 h 5800534"/>
                  <a:gd name="connsiteX31" fmla="*/ 2481834 w 5402008"/>
                  <a:gd name="connsiteY31" fmla="*/ 5780818 h 5800534"/>
                  <a:gd name="connsiteX32" fmla="*/ 2501551 w 5402008"/>
                  <a:gd name="connsiteY32" fmla="*/ 5800535 h 5800534"/>
                  <a:gd name="connsiteX33" fmla="*/ 2678716 w 5402008"/>
                  <a:gd name="connsiteY33" fmla="*/ 5800535 h 5800534"/>
                  <a:gd name="connsiteX34" fmla="*/ 2698433 w 5402008"/>
                  <a:gd name="connsiteY34" fmla="*/ 5780818 h 5800534"/>
                  <a:gd name="connsiteX35" fmla="*/ 2678716 w 5402008"/>
                  <a:gd name="connsiteY35" fmla="*/ 5761101 h 5800534"/>
                  <a:gd name="connsiteX36" fmla="*/ 793623 w 5402008"/>
                  <a:gd name="connsiteY36" fmla="*/ 19717 h 5800534"/>
                  <a:gd name="connsiteX37" fmla="*/ 773906 w 5402008"/>
                  <a:gd name="connsiteY37" fmla="*/ 0 h 5800534"/>
                  <a:gd name="connsiteX38" fmla="*/ 596741 w 5402008"/>
                  <a:gd name="connsiteY38" fmla="*/ 0 h 5800534"/>
                  <a:gd name="connsiteX39" fmla="*/ 577025 w 5402008"/>
                  <a:gd name="connsiteY39" fmla="*/ 19717 h 5800534"/>
                  <a:gd name="connsiteX40" fmla="*/ 596741 w 5402008"/>
                  <a:gd name="connsiteY40" fmla="*/ 39434 h 5800534"/>
                  <a:gd name="connsiteX41" fmla="*/ 773906 w 5402008"/>
                  <a:gd name="connsiteY41" fmla="*/ 39434 h 5800534"/>
                  <a:gd name="connsiteX42" fmla="*/ 793623 w 5402008"/>
                  <a:gd name="connsiteY42" fmla="*/ 19717 h 5800534"/>
                  <a:gd name="connsiteX43" fmla="*/ 1502093 w 5402008"/>
                  <a:gd name="connsiteY43" fmla="*/ 19717 h 5800534"/>
                  <a:gd name="connsiteX44" fmla="*/ 1482376 w 5402008"/>
                  <a:gd name="connsiteY44" fmla="*/ 0 h 5800534"/>
                  <a:gd name="connsiteX45" fmla="*/ 1305306 w 5402008"/>
                  <a:gd name="connsiteY45" fmla="*/ 0 h 5800534"/>
                  <a:gd name="connsiteX46" fmla="*/ 1285589 w 5402008"/>
                  <a:gd name="connsiteY46" fmla="*/ 19717 h 5800534"/>
                  <a:gd name="connsiteX47" fmla="*/ 1305306 w 5402008"/>
                  <a:gd name="connsiteY47" fmla="*/ 39434 h 5800534"/>
                  <a:gd name="connsiteX48" fmla="*/ 1482376 w 5402008"/>
                  <a:gd name="connsiteY48" fmla="*/ 39434 h 5800534"/>
                  <a:gd name="connsiteX49" fmla="*/ 1502093 w 5402008"/>
                  <a:gd name="connsiteY49" fmla="*/ 19717 h 5800534"/>
                  <a:gd name="connsiteX50" fmla="*/ 2324481 w 5402008"/>
                  <a:gd name="connsiteY50" fmla="*/ 5761101 h 5800534"/>
                  <a:gd name="connsiteX51" fmla="*/ 2147316 w 5402008"/>
                  <a:gd name="connsiteY51" fmla="*/ 5761101 h 5800534"/>
                  <a:gd name="connsiteX52" fmla="*/ 2127599 w 5402008"/>
                  <a:gd name="connsiteY52" fmla="*/ 5780818 h 5800534"/>
                  <a:gd name="connsiteX53" fmla="*/ 2147316 w 5402008"/>
                  <a:gd name="connsiteY53" fmla="*/ 5800535 h 5800534"/>
                  <a:gd name="connsiteX54" fmla="*/ 2324481 w 5402008"/>
                  <a:gd name="connsiteY54" fmla="*/ 5800535 h 5800534"/>
                  <a:gd name="connsiteX55" fmla="*/ 2344198 w 5402008"/>
                  <a:gd name="connsiteY55" fmla="*/ 5780818 h 5800534"/>
                  <a:gd name="connsiteX56" fmla="*/ 2324481 w 5402008"/>
                  <a:gd name="connsiteY56" fmla="*/ 5761101 h 5800534"/>
                  <a:gd name="connsiteX57" fmla="*/ 2564797 w 5402008"/>
                  <a:gd name="connsiteY57" fmla="*/ 19717 h 5800534"/>
                  <a:gd name="connsiteX58" fmla="*/ 2545080 w 5402008"/>
                  <a:gd name="connsiteY58" fmla="*/ 0 h 5800534"/>
                  <a:gd name="connsiteX59" fmla="*/ 2367915 w 5402008"/>
                  <a:gd name="connsiteY59" fmla="*/ 0 h 5800534"/>
                  <a:gd name="connsiteX60" fmla="*/ 2348198 w 5402008"/>
                  <a:gd name="connsiteY60" fmla="*/ 19717 h 5800534"/>
                  <a:gd name="connsiteX61" fmla="*/ 2367915 w 5402008"/>
                  <a:gd name="connsiteY61" fmla="*/ 39434 h 5800534"/>
                  <a:gd name="connsiteX62" fmla="*/ 2545080 w 5402008"/>
                  <a:gd name="connsiteY62" fmla="*/ 39434 h 5800534"/>
                  <a:gd name="connsiteX63" fmla="*/ 2564797 w 5402008"/>
                  <a:gd name="connsiteY63" fmla="*/ 19717 h 5800534"/>
                  <a:gd name="connsiteX64" fmla="*/ 129254 w 5402008"/>
                  <a:gd name="connsiteY64" fmla="*/ 5506403 h 5800534"/>
                  <a:gd name="connsiteX65" fmla="*/ 101918 w 5402008"/>
                  <a:gd name="connsiteY65" fmla="*/ 5500592 h 5800534"/>
                  <a:gd name="connsiteX66" fmla="*/ 96107 w 5402008"/>
                  <a:gd name="connsiteY66" fmla="*/ 5527930 h 5800534"/>
                  <a:gd name="connsiteX67" fmla="*/ 217551 w 5402008"/>
                  <a:gd name="connsiteY67" fmla="*/ 5664042 h 5800534"/>
                  <a:gd name="connsiteX68" fmla="*/ 230124 w 5402008"/>
                  <a:gd name="connsiteY68" fmla="*/ 5668613 h 5800534"/>
                  <a:gd name="connsiteX69" fmla="*/ 245364 w 5402008"/>
                  <a:gd name="connsiteY69" fmla="*/ 5661470 h 5800534"/>
                  <a:gd name="connsiteX70" fmla="*/ 242697 w 5402008"/>
                  <a:gd name="connsiteY70" fmla="*/ 5633657 h 5800534"/>
                  <a:gd name="connsiteX71" fmla="*/ 129254 w 5402008"/>
                  <a:gd name="connsiteY71" fmla="*/ 5506403 h 5800534"/>
                  <a:gd name="connsiteX72" fmla="*/ 2210562 w 5402008"/>
                  <a:gd name="connsiteY72" fmla="*/ 19717 h 5800534"/>
                  <a:gd name="connsiteX73" fmla="*/ 2190845 w 5402008"/>
                  <a:gd name="connsiteY73" fmla="*/ 0 h 5800534"/>
                  <a:gd name="connsiteX74" fmla="*/ 2013776 w 5402008"/>
                  <a:gd name="connsiteY74" fmla="*/ 0 h 5800534"/>
                  <a:gd name="connsiteX75" fmla="*/ 1994059 w 5402008"/>
                  <a:gd name="connsiteY75" fmla="*/ 19717 h 5800534"/>
                  <a:gd name="connsiteX76" fmla="*/ 2013776 w 5402008"/>
                  <a:gd name="connsiteY76" fmla="*/ 39434 h 5800534"/>
                  <a:gd name="connsiteX77" fmla="*/ 2190845 w 5402008"/>
                  <a:gd name="connsiteY77" fmla="*/ 39434 h 5800534"/>
                  <a:gd name="connsiteX78" fmla="*/ 2210562 w 5402008"/>
                  <a:gd name="connsiteY78" fmla="*/ 19717 h 5800534"/>
                  <a:gd name="connsiteX79" fmla="*/ 1970246 w 5402008"/>
                  <a:gd name="connsiteY79" fmla="*/ 5761101 h 5800534"/>
                  <a:gd name="connsiteX80" fmla="*/ 1793177 w 5402008"/>
                  <a:gd name="connsiteY80" fmla="*/ 5761101 h 5800534"/>
                  <a:gd name="connsiteX81" fmla="*/ 1773460 w 5402008"/>
                  <a:gd name="connsiteY81" fmla="*/ 5780818 h 5800534"/>
                  <a:gd name="connsiteX82" fmla="*/ 1793177 w 5402008"/>
                  <a:gd name="connsiteY82" fmla="*/ 5800535 h 5800534"/>
                  <a:gd name="connsiteX83" fmla="*/ 1970246 w 5402008"/>
                  <a:gd name="connsiteY83" fmla="*/ 5800535 h 5800534"/>
                  <a:gd name="connsiteX84" fmla="*/ 1989963 w 5402008"/>
                  <a:gd name="connsiteY84" fmla="*/ 5780818 h 5800534"/>
                  <a:gd name="connsiteX85" fmla="*/ 1970246 w 5402008"/>
                  <a:gd name="connsiteY85" fmla="*/ 5761101 h 5800534"/>
                  <a:gd name="connsiteX86" fmla="*/ 1616012 w 5402008"/>
                  <a:gd name="connsiteY86" fmla="*/ 5761101 h 5800534"/>
                  <a:gd name="connsiteX87" fmla="*/ 1438942 w 5402008"/>
                  <a:gd name="connsiteY87" fmla="*/ 5761101 h 5800534"/>
                  <a:gd name="connsiteX88" fmla="*/ 1419225 w 5402008"/>
                  <a:gd name="connsiteY88" fmla="*/ 5780818 h 5800534"/>
                  <a:gd name="connsiteX89" fmla="*/ 1438942 w 5402008"/>
                  <a:gd name="connsiteY89" fmla="*/ 5800535 h 5800534"/>
                  <a:gd name="connsiteX90" fmla="*/ 1616012 w 5402008"/>
                  <a:gd name="connsiteY90" fmla="*/ 5800535 h 5800534"/>
                  <a:gd name="connsiteX91" fmla="*/ 1635728 w 5402008"/>
                  <a:gd name="connsiteY91" fmla="*/ 5780818 h 5800534"/>
                  <a:gd name="connsiteX92" fmla="*/ 1616012 w 5402008"/>
                  <a:gd name="connsiteY92" fmla="*/ 5761101 h 5800534"/>
                  <a:gd name="connsiteX93" fmla="*/ 1856327 w 5402008"/>
                  <a:gd name="connsiteY93" fmla="*/ 19717 h 5800534"/>
                  <a:gd name="connsiteX94" fmla="*/ 1836611 w 5402008"/>
                  <a:gd name="connsiteY94" fmla="*/ 0 h 5800534"/>
                  <a:gd name="connsiteX95" fmla="*/ 1659541 w 5402008"/>
                  <a:gd name="connsiteY95" fmla="*/ 0 h 5800534"/>
                  <a:gd name="connsiteX96" fmla="*/ 1639824 w 5402008"/>
                  <a:gd name="connsiteY96" fmla="*/ 19717 h 5800534"/>
                  <a:gd name="connsiteX97" fmla="*/ 1659541 w 5402008"/>
                  <a:gd name="connsiteY97" fmla="*/ 39434 h 5800534"/>
                  <a:gd name="connsiteX98" fmla="*/ 1836611 w 5402008"/>
                  <a:gd name="connsiteY98" fmla="*/ 39434 h 5800534"/>
                  <a:gd name="connsiteX99" fmla="*/ 1856327 w 5402008"/>
                  <a:gd name="connsiteY99" fmla="*/ 19717 h 5800534"/>
                  <a:gd name="connsiteX100" fmla="*/ 554927 w 5402008"/>
                  <a:gd name="connsiteY100" fmla="*/ 5759482 h 5800534"/>
                  <a:gd name="connsiteX101" fmla="*/ 389096 w 5402008"/>
                  <a:gd name="connsiteY101" fmla="*/ 5720715 h 5800534"/>
                  <a:gd name="connsiteX102" fmla="*/ 363379 w 5402008"/>
                  <a:gd name="connsiteY102" fmla="*/ 5731669 h 5800534"/>
                  <a:gd name="connsiteX103" fmla="*/ 374333 w 5402008"/>
                  <a:gd name="connsiteY103" fmla="*/ 5757386 h 5800534"/>
                  <a:gd name="connsiteX104" fmla="*/ 551974 w 5402008"/>
                  <a:gd name="connsiteY104" fmla="*/ 5798915 h 5800534"/>
                  <a:gd name="connsiteX105" fmla="*/ 553498 w 5402008"/>
                  <a:gd name="connsiteY105" fmla="*/ 5799011 h 5800534"/>
                  <a:gd name="connsiteX106" fmla="*/ 573215 w 5402008"/>
                  <a:gd name="connsiteY106" fmla="*/ 5780723 h 5800534"/>
                  <a:gd name="connsiteX107" fmla="*/ 554927 w 5402008"/>
                  <a:gd name="connsiteY107" fmla="*/ 5759482 h 5800534"/>
                  <a:gd name="connsiteX108" fmla="*/ 19717 w 5402008"/>
                  <a:gd name="connsiteY108" fmla="*/ 2189893 h 5800534"/>
                  <a:gd name="connsiteX109" fmla="*/ 39434 w 5402008"/>
                  <a:gd name="connsiteY109" fmla="*/ 2170176 h 5800534"/>
                  <a:gd name="connsiteX110" fmla="*/ 39434 w 5402008"/>
                  <a:gd name="connsiteY110" fmla="*/ 1993011 h 5800534"/>
                  <a:gd name="connsiteX111" fmla="*/ 19717 w 5402008"/>
                  <a:gd name="connsiteY111" fmla="*/ 1973294 h 5800534"/>
                  <a:gd name="connsiteX112" fmla="*/ 0 w 5402008"/>
                  <a:gd name="connsiteY112" fmla="*/ 1993011 h 5800534"/>
                  <a:gd name="connsiteX113" fmla="*/ 0 w 5402008"/>
                  <a:gd name="connsiteY113" fmla="*/ 2170176 h 5800534"/>
                  <a:gd name="connsiteX114" fmla="*/ 19717 w 5402008"/>
                  <a:gd name="connsiteY114" fmla="*/ 2189893 h 5800534"/>
                  <a:gd name="connsiteX115" fmla="*/ 19717 w 5402008"/>
                  <a:gd name="connsiteY115" fmla="*/ 2544127 h 5800534"/>
                  <a:gd name="connsiteX116" fmla="*/ 39434 w 5402008"/>
                  <a:gd name="connsiteY116" fmla="*/ 2524411 h 5800534"/>
                  <a:gd name="connsiteX117" fmla="*/ 39434 w 5402008"/>
                  <a:gd name="connsiteY117" fmla="*/ 2347341 h 5800534"/>
                  <a:gd name="connsiteX118" fmla="*/ 19717 w 5402008"/>
                  <a:gd name="connsiteY118" fmla="*/ 2327624 h 5800534"/>
                  <a:gd name="connsiteX119" fmla="*/ 0 w 5402008"/>
                  <a:gd name="connsiteY119" fmla="*/ 2347341 h 5800534"/>
                  <a:gd name="connsiteX120" fmla="*/ 0 w 5402008"/>
                  <a:gd name="connsiteY120" fmla="*/ 2524411 h 5800534"/>
                  <a:gd name="connsiteX121" fmla="*/ 19717 w 5402008"/>
                  <a:gd name="connsiteY121" fmla="*/ 2544127 h 5800534"/>
                  <a:gd name="connsiteX122" fmla="*/ 19717 w 5402008"/>
                  <a:gd name="connsiteY122" fmla="*/ 1835658 h 5800534"/>
                  <a:gd name="connsiteX123" fmla="*/ 39434 w 5402008"/>
                  <a:gd name="connsiteY123" fmla="*/ 1815941 h 5800534"/>
                  <a:gd name="connsiteX124" fmla="*/ 39434 w 5402008"/>
                  <a:gd name="connsiteY124" fmla="*/ 1638776 h 5800534"/>
                  <a:gd name="connsiteX125" fmla="*/ 19717 w 5402008"/>
                  <a:gd name="connsiteY125" fmla="*/ 1619060 h 5800534"/>
                  <a:gd name="connsiteX126" fmla="*/ 0 w 5402008"/>
                  <a:gd name="connsiteY126" fmla="*/ 1638776 h 5800534"/>
                  <a:gd name="connsiteX127" fmla="*/ 0 w 5402008"/>
                  <a:gd name="connsiteY127" fmla="*/ 1815941 h 5800534"/>
                  <a:gd name="connsiteX128" fmla="*/ 19717 w 5402008"/>
                  <a:gd name="connsiteY128" fmla="*/ 1835658 h 5800534"/>
                  <a:gd name="connsiteX129" fmla="*/ 19717 w 5402008"/>
                  <a:gd name="connsiteY129" fmla="*/ 772954 h 5800534"/>
                  <a:gd name="connsiteX130" fmla="*/ 39434 w 5402008"/>
                  <a:gd name="connsiteY130" fmla="*/ 753237 h 5800534"/>
                  <a:gd name="connsiteX131" fmla="*/ 39434 w 5402008"/>
                  <a:gd name="connsiteY131" fmla="*/ 597789 h 5800534"/>
                  <a:gd name="connsiteX132" fmla="*/ 39815 w 5402008"/>
                  <a:gd name="connsiteY132" fmla="*/ 576739 h 5800534"/>
                  <a:gd name="connsiteX133" fmla="*/ 20765 w 5402008"/>
                  <a:gd name="connsiteY133" fmla="*/ 556260 h 5800534"/>
                  <a:gd name="connsiteX134" fmla="*/ 286 w 5402008"/>
                  <a:gd name="connsiteY134" fmla="*/ 575310 h 5800534"/>
                  <a:gd name="connsiteX135" fmla="*/ 0 w 5402008"/>
                  <a:gd name="connsiteY135" fmla="*/ 597789 h 5800534"/>
                  <a:gd name="connsiteX136" fmla="*/ 0 w 5402008"/>
                  <a:gd name="connsiteY136" fmla="*/ 753142 h 5800534"/>
                  <a:gd name="connsiteX137" fmla="*/ 19717 w 5402008"/>
                  <a:gd name="connsiteY137" fmla="*/ 772954 h 5800534"/>
                  <a:gd name="connsiteX138" fmla="*/ 19717 w 5402008"/>
                  <a:gd name="connsiteY138" fmla="*/ 1481423 h 5800534"/>
                  <a:gd name="connsiteX139" fmla="*/ 39434 w 5402008"/>
                  <a:gd name="connsiteY139" fmla="*/ 1461707 h 5800534"/>
                  <a:gd name="connsiteX140" fmla="*/ 39434 w 5402008"/>
                  <a:gd name="connsiteY140" fmla="*/ 1284637 h 5800534"/>
                  <a:gd name="connsiteX141" fmla="*/ 19717 w 5402008"/>
                  <a:gd name="connsiteY141" fmla="*/ 1264920 h 5800534"/>
                  <a:gd name="connsiteX142" fmla="*/ 0 w 5402008"/>
                  <a:gd name="connsiteY142" fmla="*/ 1284637 h 5800534"/>
                  <a:gd name="connsiteX143" fmla="*/ 0 w 5402008"/>
                  <a:gd name="connsiteY143" fmla="*/ 1461707 h 5800534"/>
                  <a:gd name="connsiteX144" fmla="*/ 19717 w 5402008"/>
                  <a:gd name="connsiteY144" fmla="*/ 1481423 h 5800534"/>
                  <a:gd name="connsiteX145" fmla="*/ 19717 w 5402008"/>
                  <a:gd name="connsiteY145" fmla="*/ 2898362 h 5800534"/>
                  <a:gd name="connsiteX146" fmla="*/ 39434 w 5402008"/>
                  <a:gd name="connsiteY146" fmla="*/ 2878646 h 5800534"/>
                  <a:gd name="connsiteX147" fmla="*/ 39434 w 5402008"/>
                  <a:gd name="connsiteY147" fmla="*/ 2701481 h 5800534"/>
                  <a:gd name="connsiteX148" fmla="*/ 19717 w 5402008"/>
                  <a:gd name="connsiteY148" fmla="*/ 2681764 h 5800534"/>
                  <a:gd name="connsiteX149" fmla="*/ 0 w 5402008"/>
                  <a:gd name="connsiteY149" fmla="*/ 2701481 h 5800534"/>
                  <a:gd name="connsiteX150" fmla="*/ 0 w 5402008"/>
                  <a:gd name="connsiteY150" fmla="*/ 2878646 h 5800534"/>
                  <a:gd name="connsiteX151" fmla="*/ 19717 w 5402008"/>
                  <a:gd name="connsiteY151" fmla="*/ 2898362 h 5800534"/>
                  <a:gd name="connsiteX152" fmla="*/ 19717 w 5402008"/>
                  <a:gd name="connsiteY152" fmla="*/ 1127189 h 5800534"/>
                  <a:gd name="connsiteX153" fmla="*/ 39434 w 5402008"/>
                  <a:gd name="connsiteY153" fmla="*/ 1107472 h 5800534"/>
                  <a:gd name="connsiteX154" fmla="*/ 39434 w 5402008"/>
                  <a:gd name="connsiteY154" fmla="*/ 930307 h 5800534"/>
                  <a:gd name="connsiteX155" fmla="*/ 19717 w 5402008"/>
                  <a:gd name="connsiteY155" fmla="*/ 910590 h 5800534"/>
                  <a:gd name="connsiteX156" fmla="*/ 0 w 5402008"/>
                  <a:gd name="connsiteY156" fmla="*/ 930307 h 5800534"/>
                  <a:gd name="connsiteX157" fmla="*/ 0 w 5402008"/>
                  <a:gd name="connsiteY157" fmla="*/ 1107472 h 5800534"/>
                  <a:gd name="connsiteX158" fmla="*/ 19717 w 5402008"/>
                  <a:gd name="connsiteY158" fmla="*/ 1127189 h 5800534"/>
                  <a:gd name="connsiteX159" fmla="*/ 19717 w 5402008"/>
                  <a:gd name="connsiteY159" fmla="*/ 3961067 h 5800534"/>
                  <a:gd name="connsiteX160" fmla="*/ 39434 w 5402008"/>
                  <a:gd name="connsiteY160" fmla="*/ 3941350 h 5800534"/>
                  <a:gd name="connsiteX161" fmla="*/ 39434 w 5402008"/>
                  <a:gd name="connsiteY161" fmla="*/ 3764185 h 5800534"/>
                  <a:gd name="connsiteX162" fmla="*/ 19717 w 5402008"/>
                  <a:gd name="connsiteY162" fmla="*/ 3744468 h 5800534"/>
                  <a:gd name="connsiteX163" fmla="*/ 0 w 5402008"/>
                  <a:gd name="connsiteY163" fmla="*/ 3764185 h 5800534"/>
                  <a:gd name="connsiteX164" fmla="*/ 0 w 5402008"/>
                  <a:gd name="connsiteY164" fmla="*/ 3941350 h 5800534"/>
                  <a:gd name="connsiteX165" fmla="*/ 19717 w 5402008"/>
                  <a:gd name="connsiteY165" fmla="*/ 3961067 h 5800534"/>
                  <a:gd name="connsiteX166" fmla="*/ 19717 w 5402008"/>
                  <a:gd name="connsiteY166" fmla="*/ 5023771 h 5800534"/>
                  <a:gd name="connsiteX167" fmla="*/ 39434 w 5402008"/>
                  <a:gd name="connsiteY167" fmla="*/ 5004055 h 5800534"/>
                  <a:gd name="connsiteX168" fmla="*/ 39434 w 5402008"/>
                  <a:gd name="connsiteY168" fmla="*/ 4826889 h 5800534"/>
                  <a:gd name="connsiteX169" fmla="*/ 19717 w 5402008"/>
                  <a:gd name="connsiteY169" fmla="*/ 4807173 h 5800534"/>
                  <a:gd name="connsiteX170" fmla="*/ 0 w 5402008"/>
                  <a:gd name="connsiteY170" fmla="*/ 4826889 h 5800534"/>
                  <a:gd name="connsiteX171" fmla="*/ 0 w 5402008"/>
                  <a:gd name="connsiteY171" fmla="*/ 5004055 h 5800534"/>
                  <a:gd name="connsiteX172" fmla="*/ 19717 w 5402008"/>
                  <a:gd name="connsiteY172" fmla="*/ 5023771 h 5800534"/>
                  <a:gd name="connsiteX173" fmla="*/ 19717 w 5402008"/>
                  <a:gd name="connsiteY173" fmla="*/ 4669536 h 5800534"/>
                  <a:gd name="connsiteX174" fmla="*/ 39434 w 5402008"/>
                  <a:gd name="connsiteY174" fmla="*/ 4649819 h 5800534"/>
                  <a:gd name="connsiteX175" fmla="*/ 39434 w 5402008"/>
                  <a:gd name="connsiteY175" fmla="*/ 4472654 h 5800534"/>
                  <a:gd name="connsiteX176" fmla="*/ 19717 w 5402008"/>
                  <a:gd name="connsiteY176" fmla="*/ 4452938 h 5800534"/>
                  <a:gd name="connsiteX177" fmla="*/ 0 w 5402008"/>
                  <a:gd name="connsiteY177" fmla="*/ 4472654 h 5800534"/>
                  <a:gd name="connsiteX178" fmla="*/ 0 w 5402008"/>
                  <a:gd name="connsiteY178" fmla="*/ 4649819 h 5800534"/>
                  <a:gd name="connsiteX179" fmla="*/ 19717 w 5402008"/>
                  <a:gd name="connsiteY179" fmla="*/ 4669536 h 5800534"/>
                  <a:gd name="connsiteX180" fmla="*/ 39529 w 5402008"/>
                  <a:gd name="connsiteY180" fmla="*/ 5202746 h 5800534"/>
                  <a:gd name="connsiteX181" fmla="*/ 39529 w 5402008"/>
                  <a:gd name="connsiteY181" fmla="*/ 5181124 h 5800534"/>
                  <a:gd name="connsiteX182" fmla="*/ 19812 w 5402008"/>
                  <a:gd name="connsiteY182" fmla="*/ 5161407 h 5800534"/>
                  <a:gd name="connsiteX183" fmla="*/ 95 w 5402008"/>
                  <a:gd name="connsiteY183" fmla="*/ 5181124 h 5800534"/>
                  <a:gd name="connsiteX184" fmla="*/ 95 w 5402008"/>
                  <a:gd name="connsiteY184" fmla="*/ 5202746 h 5800534"/>
                  <a:gd name="connsiteX185" fmla="*/ 21431 w 5402008"/>
                  <a:gd name="connsiteY185" fmla="*/ 5361527 h 5800534"/>
                  <a:gd name="connsiteX186" fmla="*/ 40481 w 5402008"/>
                  <a:gd name="connsiteY186" fmla="*/ 5376101 h 5800534"/>
                  <a:gd name="connsiteX187" fmla="*/ 45720 w 5402008"/>
                  <a:gd name="connsiteY187" fmla="*/ 5375339 h 5800534"/>
                  <a:gd name="connsiteX188" fmla="*/ 59531 w 5402008"/>
                  <a:gd name="connsiteY188" fmla="*/ 5351050 h 5800534"/>
                  <a:gd name="connsiteX189" fmla="*/ 39529 w 5402008"/>
                  <a:gd name="connsiteY189" fmla="*/ 5202746 h 5800534"/>
                  <a:gd name="connsiteX190" fmla="*/ 149638 w 5402008"/>
                  <a:gd name="connsiteY190" fmla="*/ 232124 h 5800534"/>
                  <a:gd name="connsiteX191" fmla="*/ 121920 w 5402008"/>
                  <a:gd name="connsiteY191" fmla="*/ 235934 h 5800534"/>
                  <a:gd name="connsiteX192" fmla="*/ 34862 w 5402008"/>
                  <a:gd name="connsiteY192" fmla="*/ 396240 h 5800534"/>
                  <a:gd name="connsiteX193" fmla="*/ 46768 w 5402008"/>
                  <a:gd name="connsiteY193" fmla="*/ 421481 h 5800534"/>
                  <a:gd name="connsiteX194" fmla="*/ 53435 w 5402008"/>
                  <a:gd name="connsiteY194" fmla="*/ 422624 h 5800534"/>
                  <a:gd name="connsiteX195" fmla="*/ 72009 w 5402008"/>
                  <a:gd name="connsiteY195" fmla="*/ 409480 h 5800534"/>
                  <a:gd name="connsiteX196" fmla="*/ 153353 w 5402008"/>
                  <a:gd name="connsiteY196" fmla="*/ 259842 h 5800534"/>
                  <a:gd name="connsiteX197" fmla="*/ 149638 w 5402008"/>
                  <a:gd name="connsiteY197" fmla="*/ 232124 h 5800534"/>
                  <a:gd name="connsiteX198" fmla="*/ 19717 w 5402008"/>
                  <a:gd name="connsiteY198" fmla="*/ 4315301 h 5800534"/>
                  <a:gd name="connsiteX199" fmla="*/ 39434 w 5402008"/>
                  <a:gd name="connsiteY199" fmla="*/ 4295585 h 5800534"/>
                  <a:gd name="connsiteX200" fmla="*/ 39434 w 5402008"/>
                  <a:gd name="connsiteY200" fmla="*/ 4118515 h 5800534"/>
                  <a:gd name="connsiteX201" fmla="*/ 19717 w 5402008"/>
                  <a:gd name="connsiteY201" fmla="*/ 4098798 h 5800534"/>
                  <a:gd name="connsiteX202" fmla="*/ 0 w 5402008"/>
                  <a:gd name="connsiteY202" fmla="*/ 4118515 h 5800534"/>
                  <a:gd name="connsiteX203" fmla="*/ 0 w 5402008"/>
                  <a:gd name="connsiteY203" fmla="*/ 4295585 h 5800534"/>
                  <a:gd name="connsiteX204" fmla="*/ 19717 w 5402008"/>
                  <a:gd name="connsiteY204" fmla="*/ 4315301 h 5800534"/>
                  <a:gd name="connsiteX205" fmla="*/ 19717 w 5402008"/>
                  <a:gd name="connsiteY205" fmla="*/ 3606832 h 5800534"/>
                  <a:gd name="connsiteX206" fmla="*/ 39434 w 5402008"/>
                  <a:gd name="connsiteY206" fmla="*/ 3587020 h 5800534"/>
                  <a:gd name="connsiteX207" fmla="*/ 39434 w 5402008"/>
                  <a:gd name="connsiteY207" fmla="*/ 3409855 h 5800534"/>
                  <a:gd name="connsiteX208" fmla="*/ 19717 w 5402008"/>
                  <a:gd name="connsiteY208" fmla="*/ 3390138 h 5800534"/>
                  <a:gd name="connsiteX209" fmla="*/ 0 w 5402008"/>
                  <a:gd name="connsiteY209" fmla="*/ 3409855 h 5800534"/>
                  <a:gd name="connsiteX210" fmla="*/ 0 w 5402008"/>
                  <a:gd name="connsiteY210" fmla="*/ 3587020 h 5800534"/>
                  <a:gd name="connsiteX211" fmla="*/ 19717 w 5402008"/>
                  <a:gd name="connsiteY211" fmla="*/ 3606832 h 5800534"/>
                  <a:gd name="connsiteX212" fmla="*/ 19717 w 5402008"/>
                  <a:gd name="connsiteY212" fmla="*/ 3252597 h 5800534"/>
                  <a:gd name="connsiteX213" fmla="*/ 39434 w 5402008"/>
                  <a:gd name="connsiteY213" fmla="*/ 3232881 h 5800534"/>
                  <a:gd name="connsiteX214" fmla="*/ 39434 w 5402008"/>
                  <a:gd name="connsiteY214" fmla="*/ 3055715 h 5800534"/>
                  <a:gd name="connsiteX215" fmla="*/ 19717 w 5402008"/>
                  <a:gd name="connsiteY215" fmla="*/ 3035999 h 5800534"/>
                  <a:gd name="connsiteX216" fmla="*/ 0 w 5402008"/>
                  <a:gd name="connsiteY216" fmla="*/ 3055715 h 5800534"/>
                  <a:gd name="connsiteX217" fmla="*/ 0 w 5402008"/>
                  <a:gd name="connsiteY217" fmla="*/ 3232881 h 5800534"/>
                  <a:gd name="connsiteX218" fmla="*/ 19717 w 5402008"/>
                  <a:gd name="connsiteY218" fmla="*/ 3252597 h 5800534"/>
                  <a:gd name="connsiteX219" fmla="*/ 5382292 w 5402008"/>
                  <a:gd name="connsiteY219" fmla="*/ 3609594 h 5800534"/>
                  <a:gd name="connsiteX220" fmla="*/ 5362575 w 5402008"/>
                  <a:gd name="connsiteY220" fmla="*/ 3629311 h 5800534"/>
                  <a:gd name="connsiteX221" fmla="*/ 5362575 w 5402008"/>
                  <a:gd name="connsiteY221" fmla="*/ 3806381 h 5800534"/>
                  <a:gd name="connsiteX222" fmla="*/ 5382292 w 5402008"/>
                  <a:gd name="connsiteY222" fmla="*/ 3826098 h 5800534"/>
                  <a:gd name="connsiteX223" fmla="*/ 5402009 w 5402008"/>
                  <a:gd name="connsiteY223" fmla="*/ 3806381 h 5800534"/>
                  <a:gd name="connsiteX224" fmla="*/ 5402009 w 5402008"/>
                  <a:gd name="connsiteY224" fmla="*/ 3629311 h 5800534"/>
                  <a:gd name="connsiteX225" fmla="*/ 5382292 w 5402008"/>
                  <a:gd name="connsiteY225" fmla="*/ 3609594 h 5800534"/>
                  <a:gd name="connsiteX226" fmla="*/ 2919032 w 5402008"/>
                  <a:gd name="connsiteY226" fmla="*/ 19717 h 5800534"/>
                  <a:gd name="connsiteX227" fmla="*/ 2899315 w 5402008"/>
                  <a:gd name="connsiteY227" fmla="*/ 0 h 5800534"/>
                  <a:gd name="connsiteX228" fmla="*/ 2722245 w 5402008"/>
                  <a:gd name="connsiteY228" fmla="*/ 0 h 5800534"/>
                  <a:gd name="connsiteX229" fmla="*/ 2702528 w 5402008"/>
                  <a:gd name="connsiteY229" fmla="*/ 19717 h 5800534"/>
                  <a:gd name="connsiteX230" fmla="*/ 2722245 w 5402008"/>
                  <a:gd name="connsiteY230" fmla="*/ 39434 h 5800534"/>
                  <a:gd name="connsiteX231" fmla="*/ 2899315 w 5402008"/>
                  <a:gd name="connsiteY231" fmla="*/ 39434 h 5800534"/>
                  <a:gd name="connsiteX232" fmla="*/ 2919032 w 5402008"/>
                  <a:gd name="connsiteY232" fmla="*/ 19717 h 5800534"/>
                  <a:gd name="connsiteX233" fmla="*/ 5382292 w 5402008"/>
                  <a:gd name="connsiteY233" fmla="*/ 3963829 h 5800534"/>
                  <a:gd name="connsiteX234" fmla="*/ 5362575 w 5402008"/>
                  <a:gd name="connsiteY234" fmla="*/ 3983546 h 5800534"/>
                  <a:gd name="connsiteX235" fmla="*/ 5362575 w 5402008"/>
                  <a:gd name="connsiteY235" fmla="*/ 4160711 h 5800534"/>
                  <a:gd name="connsiteX236" fmla="*/ 5382292 w 5402008"/>
                  <a:gd name="connsiteY236" fmla="*/ 4180427 h 5800534"/>
                  <a:gd name="connsiteX237" fmla="*/ 5402009 w 5402008"/>
                  <a:gd name="connsiteY237" fmla="*/ 4160711 h 5800534"/>
                  <a:gd name="connsiteX238" fmla="*/ 5402009 w 5402008"/>
                  <a:gd name="connsiteY238" fmla="*/ 3983546 h 5800534"/>
                  <a:gd name="connsiteX239" fmla="*/ 5382292 w 5402008"/>
                  <a:gd name="connsiteY239" fmla="*/ 3963829 h 5800534"/>
                  <a:gd name="connsiteX240" fmla="*/ 5382292 w 5402008"/>
                  <a:gd name="connsiteY240" fmla="*/ 4318064 h 5800534"/>
                  <a:gd name="connsiteX241" fmla="*/ 5362575 w 5402008"/>
                  <a:gd name="connsiteY241" fmla="*/ 4337781 h 5800534"/>
                  <a:gd name="connsiteX242" fmla="*/ 5362575 w 5402008"/>
                  <a:gd name="connsiteY242" fmla="*/ 4514945 h 5800534"/>
                  <a:gd name="connsiteX243" fmla="*/ 5382292 w 5402008"/>
                  <a:gd name="connsiteY243" fmla="*/ 4534662 h 5800534"/>
                  <a:gd name="connsiteX244" fmla="*/ 5402009 w 5402008"/>
                  <a:gd name="connsiteY244" fmla="*/ 4514945 h 5800534"/>
                  <a:gd name="connsiteX245" fmla="*/ 5402009 w 5402008"/>
                  <a:gd name="connsiteY245" fmla="*/ 4337781 h 5800534"/>
                  <a:gd name="connsiteX246" fmla="*/ 5382292 w 5402008"/>
                  <a:gd name="connsiteY246" fmla="*/ 4318064 h 5800534"/>
                  <a:gd name="connsiteX247" fmla="*/ 5382292 w 5402008"/>
                  <a:gd name="connsiteY247" fmla="*/ 5026533 h 5800534"/>
                  <a:gd name="connsiteX248" fmla="*/ 5362575 w 5402008"/>
                  <a:gd name="connsiteY248" fmla="*/ 5046250 h 5800534"/>
                  <a:gd name="connsiteX249" fmla="*/ 5362575 w 5402008"/>
                  <a:gd name="connsiteY249" fmla="*/ 5202746 h 5800534"/>
                  <a:gd name="connsiteX250" fmla="*/ 5362194 w 5402008"/>
                  <a:gd name="connsiteY250" fmla="*/ 5222748 h 5800534"/>
                  <a:gd name="connsiteX251" fmla="*/ 5381244 w 5402008"/>
                  <a:gd name="connsiteY251" fmla="*/ 5243227 h 5800534"/>
                  <a:gd name="connsiteX252" fmla="*/ 5381911 w 5402008"/>
                  <a:gd name="connsiteY252" fmla="*/ 5243227 h 5800534"/>
                  <a:gd name="connsiteX253" fmla="*/ 5401628 w 5402008"/>
                  <a:gd name="connsiteY253" fmla="*/ 5224177 h 5800534"/>
                  <a:gd name="connsiteX254" fmla="*/ 5402009 w 5402008"/>
                  <a:gd name="connsiteY254" fmla="*/ 5202841 h 5800534"/>
                  <a:gd name="connsiteX255" fmla="*/ 5402009 w 5402008"/>
                  <a:gd name="connsiteY255" fmla="*/ 5046346 h 5800534"/>
                  <a:gd name="connsiteX256" fmla="*/ 5382292 w 5402008"/>
                  <a:gd name="connsiteY256" fmla="*/ 5026533 h 5800534"/>
                  <a:gd name="connsiteX257" fmla="*/ 5382292 w 5402008"/>
                  <a:gd name="connsiteY257" fmla="*/ 4672299 h 5800534"/>
                  <a:gd name="connsiteX258" fmla="*/ 5362575 w 5402008"/>
                  <a:gd name="connsiteY258" fmla="*/ 4692015 h 5800534"/>
                  <a:gd name="connsiteX259" fmla="*/ 5362575 w 5402008"/>
                  <a:gd name="connsiteY259" fmla="*/ 4869085 h 5800534"/>
                  <a:gd name="connsiteX260" fmla="*/ 5382292 w 5402008"/>
                  <a:gd name="connsiteY260" fmla="*/ 4888802 h 5800534"/>
                  <a:gd name="connsiteX261" fmla="*/ 5402009 w 5402008"/>
                  <a:gd name="connsiteY261" fmla="*/ 4869085 h 5800534"/>
                  <a:gd name="connsiteX262" fmla="*/ 5402009 w 5402008"/>
                  <a:gd name="connsiteY262" fmla="*/ 4692015 h 5800534"/>
                  <a:gd name="connsiteX263" fmla="*/ 5382292 w 5402008"/>
                  <a:gd name="connsiteY263" fmla="*/ 4672299 h 5800534"/>
                  <a:gd name="connsiteX264" fmla="*/ 5382292 w 5402008"/>
                  <a:gd name="connsiteY264" fmla="*/ 2901125 h 5800534"/>
                  <a:gd name="connsiteX265" fmla="*/ 5362575 w 5402008"/>
                  <a:gd name="connsiteY265" fmla="*/ 2920841 h 5800534"/>
                  <a:gd name="connsiteX266" fmla="*/ 5362575 w 5402008"/>
                  <a:gd name="connsiteY266" fmla="*/ 3097911 h 5800534"/>
                  <a:gd name="connsiteX267" fmla="*/ 5382292 w 5402008"/>
                  <a:gd name="connsiteY267" fmla="*/ 3117628 h 5800534"/>
                  <a:gd name="connsiteX268" fmla="*/ 5402009 w 5402008"/>
                  <a:gd name="connsiteY268" fmla="*/ 3097911 h 5800534"/>
                  <a:gd name="connsiteX269" fmla="*/ 5402009 w 5402008"/>
                  <a:gd name="connsiteY269" fmla="*/ 2920841 h 5800534"/>
                  <a:gd name="connsiteX270" fmla="*/ 5382292 w 5402008"/>
                  <a:gd name="connsiteY270" fmla="*/ 2901125 h 5800534"/>
                  <a:gd name="connsiteX271" fmla="*/ 5382292 w 5402008"/>
                  <a:gd name="connsiteY271" fmla="*/ 2546890 h 5800534"/>
                  <a:gd name="connsiteX272" fmla="*/ 5362575 w 5402008"/>
                  <a:gd name="connsiteY272" fmla="*/ 2566607 h 5800534"/>
                  <a:gd name="connsiteX273" fmla="*/ 5362575 w 5402008"/>
                  <a:gd name="connsiteY273" fmla="*/ 2743772 h 5800534"/>
                  <a:gd name="connsiteX274" fmla="*/ 5382292 w 5402008"/>
                  <a:gd name="connsiteY274" fmla="*/ 2763488 h 5800534"/>
                  <a:gd name="connsiteX275" fmla="*/ 5402009 w 5402008"/>
                  <a:gd name="connsiteY275" fmla="*/ 2743772 h 5800534"/>
                  <a:gd name="connsiteX276" fmla="*/ 5402009 w 5402008"/>
                  <a:gd name="connsiteY276" fmla="*/ 2566607 h 5800534"/>
                  <a:gd name="connsiteX277" fmla="*/ 5382292 w 5402008"/>
                  <a:gd name="connsiteY277" fmla="*/ 2546890 h 5800534"/>
                  <a:gd name="connsiteX278" fmla="*/ 5382292 w 5402008"/>
                  <a:gd name="connsiteY278" fmla="*/ 1129951 h 5800534"/>
                  <a:gd name="connsiteX279" fmla="*/ 5362575 w 5402008"/>
                  <a:gd name="connsiteY279" fmla="*/ 1149668 h 5800534"/>
                  <a:gd name="connsiteX280" fmla="*/ 5362575 w 5402008"/>
                  <a:gd name="connsiteY280" fmla="*/ 1326833 h 5800534"/>
                  <a:gd name="connsiteX281" fmla="*/ 5382292 w 5402008"/>
                  <a:gd name="connsiteY281" fmla="*/ 1346549 h 5800534"/>
                  <a:gd name="connsiteX282" fmla="*/ 5402009 w 5402008"/>
                  <a:gd name="connsiteY282" fmla="*/ 1326833 h 5800534"/>
                  <a:gd name="connsiteX283" fmla="*/ 5402009 w 5402008"/>
                  <a:gd name="connsiteY283" fmla="*/ 1149668 h 5800534"/>
                  <a:gd name="connsiteX284" fmla="*/ 5382292 w 5402008"/>
                  <a:gd name="connsiteY284" fmla="*/ 1129951 h 5800534"/>
                  <a:gd name="connsiteX285" fmla="*/ 5382292 w 5402008"/>
                  <a:gd name="connsiteY285" fmla="*/ 775716 h 5800534"/>
                  <a:gd name="connsiteX286" fmla="*/ 5362575 w 5402008"/>
                  <a:gd name="connsiteY286" fmla="*/ 795433 h 5800534"/>
                  <a:gd name="connsiteX287" fmla="*/ 5362575 w 5402008"/>
                  <a:gd name="connsiteY287" fmla="*/ 972503 h 5800534"/>
                  <a:gd name="connsiteX288" fmla="*/ 5382292 w 5402008"/>
                  <a:gd name="connsiteY288" fmla="*/ 992219 h 5800534"/>
                  <a:gd name="connsiteX289" fmla="*/ 5402009 w 5402008"/>
                  <a:gd name="connsiteY289" fmla="*/ 972503 h 5800534"/>
                  <a:gd name="connsiteX290" fmla="*/ 5402009 w 5402008"/>
                  <a:gd name="connsiteY290" fmla="*/ 795528 h 5800534"/>
                  <a:gd name="connsiteX291" fmla="*/ 5382292 w 5402008"/>
                  <a:gd name="connsiteY291" fmla="*/ 775716 h 5800534"/>
                  <a:gd name="connsiteX292" fmla="*/ 5380387 w 5402008"/>
                  <a:gd name="connsiteY292" fmla="*/ 437960 h 5800534"/>
                  <a:gd name="connsiteX293" fmla="*/ 5356098 w 5402008"/>
                  <a:gd name="connsiteY293" fmla="*/ 424148 h 5800534"/>
                  <a:gd name="connsiteX294" fmla="*/ 5342287 w 5402008"/>
                  <a:gd name="connsiteY294" fmla="*/ 448437 h 5800534"/>
                  <a:gd name="connsiteX295" fmla="*/ 5362480 w 5402008"/>
                  <a:gd name="connsiteY295" fmla="*/ 597789 h 5800534"/>
                  <a:gd name="connsiteX296" fmla="*/ 5362480 w 5402008"/>
                  <a:gd name="connsiteY296" fmla="*/ 618363 h 5800534"/>
                  <a:gd name="connsiteX297" fmla="*/ 5382197 w 5402008"/>
                  <a:gd name="connsiteY297" fmla="*/ 638080 h 5800534"/>
                  <a:gd name="connsiteX298" fmla="*/ 5401914 w 5402008"/>
                  <a:gd name="connsiteY298" fmla="*/ 618363 h 5800534"/>
                  <a:gd name="connsiteX299" fmla="*/ 5401914 w 5402008"/>
                  <a:gd name="connsiteY299" fmla="*/ 597789 h 5800534"/>
                  <a:gd name="connsiteX300" fmla="*/ 5380387 w 5402008"/>
                  <a:gd name="connsiteY300" fmla="*/ 437960 h 5800534"/>
                  <a:gd name="connsiteX301" fmla="*/ 5382292 w 5402008"/>
                  <a:gd name="connsiteY301" fmla="*/ 2192655 h 5800534"/>
                  <a:gd name="connsiteX302" fmla="*/ 5362575 w 5402008"/>
                  <a:gd name="connsiteY302" fmla="*/ 2212372 h 5800534"/>
                  <a:gd name="connsiteX303" fmla="*/ 5362575 w 5402008"/>
                  <a:gd name="connsiteY303" fmla="*/ 2389537 h 5800534"/>
                  <a:gd name="connsiteX304" fmla="*/ 5382292 w 5402008"/>
                  <a:gd name="connsiteY304" fmla="*/ 2409254 h 5800534"/>
                  <a:gd name="connsiteX305" fmla="*/ 5402009 w 5402008"/>
                  <a:gd name="connsiteY305" fmla="*/ 2389537 h 5800534"/>
                  <a:gd name="connsiteX306" fmla="*/ 5402009 w 5402008"/>
                  <a:gd name="connsiteY306" fmla="*/ 2212372 h 5800534"/>
                  <a:gd name="connsiteX307" fmla="*/ 5382292 w 5402008"/>
                  <a:gd name="connsiteY307" fmla="*/ 2192655 h 5800534"/>
                  <a:gd name="connsiteX308" fmla="*/ 5355622 w 5402008"/>
                  <a:gd name="connsiteY308" fmla="*/ 5378101 h 5800534"/>
                  <a:gd name="connsiteX309" fmla="*/ 5330381 w 5402008"/>
                  <a:gd name="connsiteY309" fmla="*/ 5390102 h 5800534"/>
                  <a:gd name="connsiteX310" fmla="*/ 5249323 w 5402008"/>
                  <a:gd name="connsiteY310" fmla="*/ 5539931 h 5800534"/>
                  <a:gd name="connsiteX311" fmla="*/ 5253133 w 5402008"/>
                  <a:gd name="connsiteY311" fmla="*/ 5567649 h 5800534"/>
                  <a:gd name="connsiteX312" fmla="*/ 5265039 w 5402008"/>
                  <a:gd name="connsiteY312" fmla="*/ 5571649 h 5800534"/>
                  <a:gd name="connsiteX313" fmla="*/ 5280755 w 5402008"/>
                  <a:gd name="connsiteY313" fmla="*/ 5563838 h 5800534"/>
                  <a:gd name="connsiteX314" fmla="*/ 5367528 w 5402008"/>
                  <a:gd name="connsiteY314" fmla="*/ 5403342 h 5800534"/>
                  <a:gd name="connsiteX315" fmla="*/ 5355622 w 5402008"/>
                  <a:gd name="connsiteY315" fmla="*/ 5378101 h 5800534"/>
                  <a:gd name="connsiteX316" fmla="*/ 5382292 w 5402008"/>
                  <a:gd name="connsiteY316" fmla="*/ 1838420 h 5800534"/>
                  <a:gd name="connsiteX317" fmla="*/ 5362575 w 5402008"/>
                  <a:gd name="connsiteY317" fmla="*/ 1858137 h 5800534"/>
                  <a:gd name="connsiteX318" fmla="*/ 5362575 w 5402008"/>
                  <a:gd name="connsiteY318" fmla="*/ 2035207 h 5800534"/>
                  <a:gd name="connsiteX319" fmla="*/ 5382292 w 5402008"/>
                  <a:gd name="connsiteY319" fmla="*/ 2054924 h 5800534"/>
                  <a:gd name="connsiteX320" fmla="*/ 5402009 w 5402008"/>
                  <a:gd name="connsiteY320" fmla="*/ 2035207 h 5800534"/>
                  <a:gd name="connsiteX321" fmla="*/ 5402009 w 5402008"/>
                  <a:gd name="connsiteY321" fmla="*/ 1858137 h 5800534"/>
                  <a:gd name="connsiteX322" fmla="*/ 5382292 w 5402008"/>
                  <a:gd name="connsiteY322" fmla="*/ 1838420 h 5800534"/>
                  <a:gd name="connsiteX323" fmla="*/ 5382292 w 5402008"/>
                  <a:gd name="connsiteY323" fmla="*/ 1484186 h 5800534"/>
                  <a:gd name="connsiteX324" fmla="*/ 5362575 w 5402008"/>
                  <a:gd name="connsiteY324" fmla="*/ 1503902 h 5800534"/>
                  <a:gd name="connsiteX325" fmla="*/ 5362575 w 5402008"/>
                  <a:gd name="connsiteY325" fmla="*/ 1681067 h 5800534"/>
                  <a:gd name="connsiteX326" fmla="*/ 5382292 w 5402008"/>
                  <a:gd name="connsiteY326" fmla="*/ 1700784 h 5800534"/>
                  <a:gd name="connsiteX327" fmla="*/ 5402009 w 5402008"/>
                  <a:gd name="connsiteY327" fmla="*/ 1681067 h 5800534"/>
                  <a:gd name="connsiteX328" fmla="*/ 5402009 w 5402008"/>
                  <a:gd name="connsiteY328" fmla="*/ 1503902 h 5800534"/>
                  <a:gd name="connsiteX329" fmla="*/ 5382292 w 5402008"/>
                  <a:gd name="connsiteY329" fmla="*/ 1484186 h 5800534"/>
                  <a:gd name="connsiteX330" fmla="*/ 5382292 w 5402008"/>
                  <a:gd name="connsiteY330" fmla="*/ 3255359 h 5800534"/>
                  <a:gd name="connsiteX331" fmla="*/ 5362575 w 5402008"/>
                  <a:gd name="connsiteY331" fmla="*/ 3275076 h 5800534"/>
                  <a:gd name="connsiteX332" fmla="*/ 5362575 w 5402008"/>
                  <a:gd name="connsiteY332" fmla="*/ 3452241 h 5800534"/>
                  <a:gd name="connsiteX333" fmla="*/ 5382292 w 5402008"/>
                  <a:gd name="connsiteY333" fmla="*/ 3471958 h 5800534"/>
                  <a:gd name="connsiteX334" fmla="*/ 5402009 w 5402008"/>
                  <a:gd name="connsiteY334" fmla="*/ 3452241 h 5800534"/>
                  <a:gd name="connsiteX335" fmla="*/ 5402009 w 5402008"/>
                  <a:gd name="connsiteY335" fmla="*/ 3275076 h 5800534"/>
                  <a:gd name="connsiteX336" fmla="*/ 5382292 w 5402008"/>
                  <a:gd name="connsiteY336" fmla="*/ 3255359 h 5800534"/>
                  <a:gd name="connsiteX337" fmla="*/ 5288756 w 5402008"/>
                  <a:gd name="connsiteY337" fmla="*/ 302228 h 5800534"/>
                  <a:gd name="connsiteX338" fmla="*/ 5299520 w 5402008"/>
                  <a:gd name="connsiteY338" fmla="*/ 298990 h 5800534"/>
                  <a:gd name="connsiteX339" fmla="*/ 5305235 w 5402008"/>
                  <a:gd name="connsiteY339" fmla="*/ 271653 h 5800534"/>
                  <a:gd name="connsiteX340" fmla="*/ 5183505 w 5402008"/>
                  <a:gd name="connsiteY340" fmla="*/ 135827 h 5800534"/>
                  <a:gd name="connsiteX341" fmla="*/ 5155693 w 5402008"/>
                  <a:gd name="connsiteY341" fmla="*/ 138589 h 5800534"/>
                  <a:gd name="connsiteX342" fmla="*/ 5158455 w 5402008"/>
                  <a:gd name="connsiteY342" fmla="*/ 166402 h 5800534"/>
                  <a:gd name="connsiteX343" fmla="*/ 5272088 w 5402008"/>
                  <a:gd name="connsiteY343" fmla="*/ 293370 h 5800534"/>
                  <a:gd name="connsiteX344" fmla="*/ 5288756 w 5402008"/>
                  <a:gd name="connsiteY344" fmla="*/ 302228 h 5800534"/>
                  <a:gd name="connsiteX345" fmla="*/ 3627501 w 5402008"/>
                  <a:gd name="connsiteY345" fmla="*/ 19717 h 5800534"/>
                  <a:gd name="connsiteX346" fmla="*/ 3607784 w 5402008"/>
                  <a:gd name="connsiteY346" fmla="*/ 0 h 5800534"/>
                  <a:gd name="connsiteX347" fmla="*/ 3430715 w 5402008"/>
                  <a:gd name="connsiteY347" fmla="*/ 0 h 5800534"/>
                  <a:gd name="connsiteX348" fmla="*/ 3410998 w 5402008"/>
                  <a:gd name="connsiteY348" fmla="*/ 19717 h 5800534"/>
                  <a:gd name="connsiteX349" fmla="*/ 3430715 w 5402008"/>
                  <a:gd name="connsiteY349" fmla="*/ 39434 h 5800534"/>
                  <a:gd name="connsiteX350" fmla="*/ 3607784 w 5402008"/>
                  <a:gd name="connsiteY350" fmla="*/ 39434 h 5800534"/>
                  <a:gd name="connsiteX351" fmla="*/ 3627501 w 5402008"/>
                  <a:gd name="connsiteY351" fmla="*/ 19717 h 5800534"/>
                  <a:gd name="connsiteX352" fmla="*/ 3981736 w 5402008"/>
                  <a:gd name="connsiteY352" fmla="*/ 19717 h 5800534"/>
                  <a:gd name="connsiteX353" fmla="*/ 3962019 w 5402008"/>
                  <a:gd name="connsiteY353" fmla="*/ 0 h 5800534"/>
                  <a:gd name="connsiteX354" fmla="*/ 3784854 w 5402008"/>
                  <a:gd name="connsiteY354" fmla="*/ 0 h 5800534"/>
                  <a:gd name="connsiteX355" fmla="*/ 3765137 w 5402008"/>
                  <a:gd name="connsiteY355" fmla="*/ 19717 h 5800534"/>
                  <a:gd name="connsiteX356" fmla="*/ 3784854 w 5402008"/>
                  <a:gd name="connsiteY356" fmla="*/ 39434 h 5800534"/>
                  <a:gd name="connsiteX357" fmla="*/ 3962019 w 5402008"/>
                  <a:gd name="connsiteY357" fmla="*/ 39434 h 5800534"/>
                  <a:gd name="connsiteX358" fmla="*/ 3981736 w 5402008"/>
                  <a:gd name="connsiteY358" fmla="*/ 19717 h 5800534"/>
                  <a:gd name="connsiteX359" fmla="*/ 3741420 w 5402008"/>
                  <a:gd name="connsiteY359" fmla="*/ 5761101 h 5800534"/>
                  <a:gd name="connsiteX360" fmla="*/ 3564255 w 5402008"/>
                  <a:gd name="connsiteY360" fmla="*/ 5761101 h 5800534"/>
                  <a:gd name="connsiteX361" fmla="*/ 3544538 w 5402008"/>
                  <a:gd name="connsiteY361" fmla="*/ 5780818 h 5800534"/>
                  <a:gd name="connsiteX362" fmla="*/ 3564255 w 5402008"/>
                  <a:gd name="connsiteY362" fmla="*/ 5800535 h 5800534"/>
                  <a:gd name="connsiteX363" fmla="*/ 3741420 w 5402008"/>
                  <a:gd name="connsiteY363" fmla="*/ 5800535 h 5800534"/>
                  <a:gd name="connsiteX364" fmla="*/ 3761137 w 5402008"/>
                  <a:gd name="connsiteY364" fmla="*/ 5780818 h 5800534"/>
                  <a:gd name="connsiteX365" fmla="*/ 3741420 w 5402008"/>
                  <a:gd name="connsiteY365" fmla="*/ 5761101 h 5800534"/>
                  <a:gd name="connsiteX366" fmla="*/ 3032951 w 5402008"/>
                  <a:gd name="connsiteY366" fmla="*/ 5761101 h 5800534"/>
                  <a:gd name="connsiteX367" fmla="*/ 2855881 w 5402008"/>
                  <a:gd name="connsiteY367" fmla="*/ 5761101 h 5800534"/>
                  <a:gd name="connsiteX368" fmla="*/ 2836164 w 5402008"/>
                  <a:gd name="connsiteY368" fmla="*/ 5780818 h 5800534"/>
                  <a:gd name="connsiteX369" fmla="*/ 2855881 w 5402008"/>
                  <a:gd name="connsiteY369" fmla="*/ 5800535 h 5800534"/>
                  <a:gd name="connsiteX370" fmla="*/ 3032951 w 5402008"/>
                  <a:gd name="connsiteY370" fmla="*/ 5800535 h 5800534"/>
                  <a:gd name="connsiteX371" fmla="*/ 3052667 w 5402008"/>
                  <a:gd name="connsiteY371" fmla="*/ 5780818 h 5800534"/>
                  <a:gd name="connsiteX372" fmla="*/ 3032951 w 5402008"/>
                  <a:gd name="connsiteY372" fmla="*/ 5761101 h 5800534"/>
                  <a:gd name="connsiteX373" fmla="*/ 3387185 w 5402008"/>
                  <a:gd name="connsiteY373" fmla="*/ 5761101 h 5800534"/>
                  <a:gd name="connsiteX374" fmla="*/ 3210116 w 5402008"/>
                  <a:gd name="connsiteY374" fmla="*/ 5761101 h 5800534"/>
                  <a:gd name="connsiteX375" fmla="*/ 3190399 w 5402008"/>
                  <a:gd name="connsiteY375" fmla="*/ 5780818 h 5800534"/>
                  <a:gd name="connsiteX376" fmla="*/ 3210116 w 5402008"/>
                  <a:gd name="connsiteY376" fmla="*/ 5800535 h 5800534"/>
                  <a:gd name="connsiteX377" fmla="*/ 3387185 w 5402008"/>
                  <a:gd name="connsiteY377" fmla="*/ 5800535 h 5800534"/>
                  <a:gd name="connsiteX378" fmla="*/ 3406902 w 5402008"/>
                  <a:gd name="connsiteY378" fmla="*/ 5780818 h 5800534"/>
                  <a:gd name="connsiteX379" fmla="*/ 3387185 w 5402008"/>
                  <a:gd name="connsiteY379" fmla="*/ 5761101 h 5800534"/>
                  <a:gd name="connsiteX380" fmla="*/ 3273266 w 5402008"/>
                  <a:gd name="connsiteY380" fmla="*/ 19717 h 5800534"/>
                  <a:gd name="connsiteX381" fmla="*/ 3253549 w 5402008"/>
                  <a:gd name="connsiteY381" fmla="*/ 0 h 5800534"/>
                  <a:gd name="connsiteX382" fmla="*/ 3076480 w 5402008"/>
                  <a:gd name="connsiteY382" fmla="*/ 0 h 5800534"/>
                  <a:gd name="connsiteX383" fmla="*/ 3056763 w 5402008"/>
                  <a:gd name="connsiteY383" fmla="*/ 19717 h 5800534"/>
                  <a:gd name="connsiteX384" fmla="*/ 3076480 w 5402008"/>
                  <a:gd name="connsiteY384" fmla="*/ 39434 h 5800534"/>
                  <a:gd name="connsiteX385" fmla="*/ 3253549 w 5402008"/>
                  <a:gd name="connsiteY385" fmla="*/ 39434 h 5800534"/>
                  <a:gd name="connsiteX386" fmla="*/ 3273266 w 5402008"/>
                  <a:gd name="connsiteY386" fmla="*/ 19717 h 5800534"/>
                  <a:gd name="connsiteX387" fmla="*/ 4095655 w 5402008"/>
                  <a:gd name="connsiteY387" fmla="*/ 5761101 h 5800534"/>
                  <a:gd name="connsiteX388" fmla="*/ 3918490 w 5402008"/>
                  <a:gd name="connsiteY388" fmla="*/ 5761101 h 5800534"/>
                  <a:gd name="connsiteX389" fmla="*/ 3898773 w 5402008"/>
                  <a:gd name="connsiteY389" fmla="*/ 5780818 h 5800534"/>
                  <a:gd name="connsiteX390" fmla="*/ 3918490 w 5402008"/>
                  <a:gd name="connsiteY390" fmla="*/ 5800535 h 5800534"/>
                  <a:gd name="connsiteX391" fmla="*/ 4095655 w 5402008"/>
                  <a:gd name="connsiteY391" fmla="*/ 5800535 h 5800534"/>
                  <a:gd name="connsiteX392" fmla="*/ 4115372 w 5402008"/>
                  <a:gd name="connsiteY392" fmla="*/ 5780818 h 5800534"/>
                  <a:gd name="connsiteX393" fmla="*/ 4095655 w 5402008"/>
                  <a:gd name="connsiteY393" fmla="*/ 5761101 h 5800534"/>
                  <a:gd name="connsiteX394" fmla="*/ 5019389 w 5402008"/>
                  <a:gd name="connsiteY394" fmla="*/ 80867 h 5800534"/>
                  <a:gd name="connsiteX395" fmla="*/ 5037773 w 5402008"/>
                  <a:gd name="connsiteY395" fmla="*/ 68485 h 5800534"/>
                  <a:gd name="connsiteX396" fmla="*/ 5026819 w 5402008"/>
                  <a:gd name="connsiteY396" fmla="*/ 42767 h 5800534"/>
                  <a:gd name="connsiteX397" fmla="*/ 4849082 w 5402008"/>
                  <a:gd name="connsiteY397" fmla="*/ 1619 h 5800534"/>
                  <a:gd name="connsiteX398" fmla="*/ 4827937 w 5402008"/>
                  <a:gd name="connsiteY398" fmla="*/ 19907 h 5800534"/>
                  <a:gd name="connsiteX399" fmla="*/ 4846225 w 5402008"/>
                  <a:gd name="connsiteY399" fmla="*/ 41053 h 5800534"/>
                  <a:gd name="connsiteX400" fmla="*/ 5012151 w 5402008"/>
                  <a:gd name="connsiteY400" fmla="*/ 79439 h 5800534"/>
                  <a:gd name="connsiteX401" fmla="*/ 5019389 w 5402008"/>
                  <a:gd name="connsiteY401" fmla="*/ 80867 h 5800534"/>
                  <a:gd name="connsiteX402" fmla="*/ 4806410 w 5402008"/>
                  <a:gd name="connsiteY402" fmla="*/ 5761101 h 5800534"/>
                  <a:gd name="connsiteX403" fmla="*/ 4627055 w 5402008"/>
                  <a:gd name="connsiteY403" fmla="*/ 5761101 h 5800534"/>
                  <a:gd name="connsiteX404" fmla="*/ 4607338 w 5402008"/>
                  <a:gd name="connsiteY404" fmla="*/ 5780818 h 5800534"/>
                  <a:gd name="connsiteX405" fmla="*/ 4627055 w 5402008"/>
                  <a:gd name="connsiteY405" fmla="*/ 5800535 h 5800534"/>
                  <a:gd name="connsiteX406" fmla="*/ 4804410 w 5402008"/>
                  <a:gd name="connsiteY406" fmla="*/ 5800535 h 5800534"/>
                  <a:gd name="connsiteX407" fmla="*/ 4806315 w 5402008"/>
                  <a:gd name="connsiteY407" fmla="*/ 5800535 h 5800534"/>
                  <a:gd name="connsiteX408" fmla="*/ 4826032 w 5402008"/>
                  <a:gd name="connsiteY408" fmla="*/ 5780818 h 5800534"/>
                  <a:gd name="connsiteX409" fmla="*/ 4806410 w 5402008"/>
                  <a:gd name="connsiteY409" fmla="*/ 5761101 h 5800534"/>
                  <a:gd name="connsiteX410" fmla="*/ 4335971 w 5402008"/>
                  <a:gd name="connsiteY410" fmla="*/ 19717 h 5800534"/>
                  <a:gd name="connsiteX411" fmla="*/ 4316254 w 5402008"/>
                  <a:gd name="connsiteY411" fmla="*/ 0 h 5800534"/>
                  <a:gd name="connsiteX412" fmla="*/ 4139184 w 5402008"/>
                  <a:gd name="connsiteY412" fmla="*/ 0 h 5800534"/>
                  <a:gd name="connsiteX413" fmla="*/ 4119467 w 5402008"/>
                  <a:gd name="connsiteY413" fmla="*/ 19717 h 5800534"/>
                  <a:gd name="connsiteX414" fmla="*/ 4139184 w 5402008"/>
                  <a:gd name="connsiteY414" fmla="*/ 39434 h 5800534"/>
                  <a:gd name="connsiteX415" fmla="*/ 4316254 w 5402008"/>
                  <a:gd name="connsiteY415" fmla="*/ 39434 h 5800534"/>
                  <a:gd name="connsiteX416" fmla="*/ 4335971 w 5402008"/>
                  <a:gd name="connsiteY416" fmla="*/ 19717 h 5800534"/>
                  <a:gd name="connsiteX417" fmla="*/ 5126927 w 5402008"/>
                  <a:gd name="connsiteY417" fmla="*/ 5658422 h 5800534"/>
                  <a:gd name="connsiteX418" fmla="*/ 4974622 w 5402008"/>
                  <a:gd name="connsiteY418" fmla="*/ 5734622 h 5800534"/>
                  <a:gd name="connsiteX419" fmla="*/ 4961858 w 5402008"/>
                  <a:gd name="connsiteY419" fmla="*/ 5759482 h 5800534"/>
                  <a:gd name="connsiteX420" fmla="*/ 4980718 w 5402008"/>
                  <a:gd name="connsiteY420" fmla="*/ 5773198 h 5800534"/>
                  <a:gd name="connsiteX421" fmla="*/ 4986719 w 5402008"/>
                  <a:gd name="connsiteY421" fmla="*/ 5772245 h 5800534"/>
                  <a:gd name="connsiteX422" fmla="*/ 5149882 w 5402008"/>
                  <a:gd name="connsiteY422" fmla="*/ 5690616 h 5800534"/>
                  <a:gd name="connsiteX423" fmla="*/ 5154549 w 5402008"/>
                  <a:gd name="connsiteY423" fmla="*/ 5663089 h 5800534"/>
                  <a:gd name="connsiteX424" fmla="*/ 5126927 w 5402008"/>
                  <a:gd name="connsiteY424" fmla="*/ 5658422 h 5800534"/>
                  <a:gd name="connsiteX425" fmla="*/ 4690206 w 5402008"/>
                  <a:gd name="connsiteY425" fmla="*/ 19717 h 5800534"/>
                  <a:gd name="connsiteX426" fmla="*/ 4670489 w 5402008"/>
                  <a:gd name="connsiteY426" fmla="*/ 0 h 5800534"/>
                  <a:gd name="connsiteX427" fmla="*/ 4493419 w 5402008"/>
                  <a:gd name="connsiteY427" fmla="*/ 0 h 5800534"/>
                  <a:gd name="connsiteX428" fmla="*/ 4473702 w 5402008"/>
                  <a:gd name="connsiteY428" fmla="*/ 19717 h 5800534"/>
                  <a:gd name="connsiteX429" fmla="*/ 4493419 w 5402008"/>
                  <a:gd name="connsiteY429" fmla="*/ 39434 h 5800534"/>
                  <a:gd name="connsiteX430" fmla="*/ 4670489 w 5402008"/>
                  <a:gd name="connsiteY430" fmla="*/ 39434 h 5800534"/>
                  <a:gd name="connsiteX431" fmla="*/ 4690206 w 5402008"/>
                  <a:gd name="connsiteY431" fmla="*/ 19717 h 5800534"/>
                  <a:gd name="connsiteX432" fmla="*/ 4449890 w 5402008"/>
                  <a:gd name="connsiteY432" fmla="*/ 5761101 h 5800534"/>
                  <a:gd name="connsiteX433" fmla="*/ 4272820 w 5402008"/>
                  <a:gd name="connsiteY433" fmla="*/ 5761101 h 5800534"/>
                  <a:gd name="connsiteX434" fmla="*/ 4253103 w 5402008"/>
                  <a:gd name="connsiteY434" fmla="*/ 5780818 h 5800534"/>
                  <a:gd name="connsiteX435" fmla="*/ 4272820 w 5402008"/>
                  <a:gd name="connsiteY435" fmla="*/ 5800535 h 5800534"/>
                  <a:gd name="connsiteX436" fmla="*/ 4449890 w 5402008"/>
                  <a:gd name="connsiteY436" fmla="*/ 5800535 h 5800534"/>
                  <a:gd name="connsiteX437" fmla="*/ 4469606 w 5402008"/>
                  <a:gd name="connsiteY437" fmla="*/ 5780818 h 5800534"/>
                  <a:gd name="connsiteX438" fmla="*/ 4449890 w 5402008"/>
                  <a:gd name="connsiteY438" fmla="*/ 5761101 h 58005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</a:cxnLst>
                <a:rect l="l" t="t" r="r" b="b"/>
                <a:pathLst>
                  <a:path w="5402008" h="5800534">
                    <a:moveTo>
                      <a:pt x="1147858" y="19717"/>
                    </a:moveTo>
                    <a:cubicBezTo>
                      <a:pt x="1147858" y="8763"/>
                      <a:pt x="1139000" y="0"/>
                      <a:pt x="1128141" y="0"/>
                    </a:cubicBezTo>
                    <a:lnTo>
                      <a:pt x="950976" y="0"/>
                    </a:lnTo>
                    <a:cubicBezTo>
                      <a:pt x="940022" y="0"/>
                      <a:pt x="931259" y="8858"/>
                      <a:pt x="931259" y="19717"/>
                    </a:cubicBezTo>
                    <a:cubicBezTo>
                      <a:pt x="931259" y="30670"/>
                      <a:pt x="940118" y="39434"/>
                      <a:pt x="950976" y="39434"/>
                    </a:cubicBezTo>
                    <a:lnTo>
                      <a:pt x="1128141" y="39434"/>
                    </a:lnTo>
                    <a:cubicBezTo>
                      <a:pt x="1139000" y="39434"/>
                      <a:pt x="1147858" y="30670"/>
                      <a:pt x="1147858" y="19717"/>
                    </a:cubicBezTo>
                    <a:close/>
                    <a:moveTo>
                      <a:pt x="1261872" y="5761101"/>
                    </a:moveTo>
                    <a:lnTo>
                      <a:pt x="1084707" y="5761101"/>
                    </a:lnTo>
                    <a:cubicBezTo>
                      <a:pt x="1073753" y="5761101"/>
                      <a:pt x="1064990" y="5769959"/>
                      <a:pt x="1064990" y="5780818"/>
                    </a:cubicBezTo>
                    <a:cubicBezTo>
                      <a:pt x="1064990" y="5791772"/>
                      <a:pt x="1073849" y="5800535"/>
                      <a:pt x="1084707" y="5800535"/>
                    </a:cubicBezTo>
                    <a:lnTo>
                      <a:pt x="1261872" y="5800535"/>
                    </a:lnTo>
                    <a:cubicBezTo>
                      <a:pt x="1272826" y="5800535"/>
                      <a:pt x="1281589" y="5791677"/>
                      <a:pt x="1281589" y="5780818"/>
                    </a:cubicBezTo>
                    <a:cubicBezTo>
                      <a:pt x="1281589" y="5769959"/>
                      <a:pt x="1272731" y="5761101"/>
                      <a:pt x="1261872" y="5761101"/>
                    </a:cubicBezTo>
                    <a:close/>
                    <a:moveTo>
                      <a:pt x="907637" y="5761101"/>
                    </a:moveTo>
                    <a:lnTo>
                      <a:pt x="730472" y="5761101"/>
                    </a:lnTo>
                    <a:cubicBezTo>
                      <a:pt x="719519" y="5761101"/>
                      <a:pt x="710756" y="5769959"/>
                      <a:pt x="710756" y="5780818"/>
                    </a:cubicBezTo>
                    <a:cubicBezTo>
                      <a:pt x="710756" y="5791772"/>
                      <a:pt x="719614" y="5800535"/>
                      <a:pt x="730472" y="5800535"/>
                    </a:cubicBezTo>
                    <a:lnTo>
                      <a:pt x="907637" y="5800535"/>
                    </a:lnTo>
                    <a:cubicBezTo>
                      <a:pt x="918591" y="5800535"/>
                      <a:pt x="927354" y="5791677"/>
                      <a:pt x="927354" y="5780818"/>
                    </a:cubicBezTo>
                    <a:cubicBezTo>
                      <a:pt x="927354" y="5769959"/>
                      <a:pt x="918496" y="5761101"/>
                      <a:pt x="907637" y="5761101"/>
                    </a:cubicBezTo>
                    <a:close/>
                    <a:moveTo>
                      <a:pt x="441293" y="40767"/>
                    </a:moveTo>
                    <a:cubicBezTo>
                      <a:pt x="437960" y="30385"/>
                      <a:pt x="426911" y="24575"/>
                      <a:pt x="416433" y="27908"/>
                    </a:cubicBezTo>
                    <a:cubicBezTo>
                      <a:pt x="358140" y="46482"/>
                      <a:pt x="303181" y="73819"/>
                      <a:pt x="253079" y="109157"/>
                    </a:cubicBezTo>
                    <a:cubicBezTo>
                      <a:pt x="244126" y="115443"/>
                      <a:pt x="242030" y="127826"/>
                      <a:pt x="248317" y="136684"/>
                    </a:cubicBezTo>
                    <a:cubicBezTo>
                      <a:pt x="252127" y="142113"/>
                      <a:pt x="258318" y="145066"/>
                      <a:pt x="264509" y="145066"/>
                    </a:cubicBezTo>
                    <a:cubicBezTo>
                      <a:pt x="268415" y="145066"/>
                      <a:pt x="272415" y="143923"/>
                      <a:pt x="275939" y="141446"/>
                    </a:cubicBezTo>
                    <a:cubicBezTo>
                      <a:pt x="322707" y="108395"/>
                      <a:pt x="374047" y="82868"/>
                      <a:pt x="428435" y="65532"/>
                    </a:cubicBezTo>
                    <a:cubicBezTo>
                      <a:pt x="438912" y="62294"/>
                      <a:pt x="444627" y="51149"/>
                      <a:pt x="441293" y="40767"/>
                    </a:cubicBezTo>
                    <a:close/>
                    <a:moveTo>
                      <a:pt x="2678716" y="5761101"/>
                    </a:moveTo>
                    <a:lnTo>
                      <a:pt x="2501551" y="5761101"/>
                    </a:lnTo>
                    <a:cubicBezTo>
                      <a:pt x="2490597" y="5761101"/>
                      <a:pt x="2481834" y="5769959"/>
                      <a:pt x="2481834" y="5780818"/>
                    </a:cubicBezTo>
                    <a:cubicBezTo>
                      <a:pt x="2481834" y="5791772"/>
                      <a:pt x="2490692" y="5800535"/>
                      <a:pt x="2501551" y="5800535"/>
                    </a:cubicBezTo>
                    <a:lnTo>
                      <a:pt x="2678716" y="5800535"/>
                    </a:lnTo>
                    <a:cubicBezTo>
                      <a:pt x="2689670" y="5800535"/>
                      <a:pt x="2698433" y="5791677"/>
                      <a:pt x="2698433" y="5780818"/>
                    </a:cubicBezTo>
                    <a:cubicBezTo>
                      <a:pt x="2698528" y="5769959"/>
                      <a:pt x="2689670" y="5761101"/>
                      <a:pt x="2678716" y="5761101"/>
                    </a:cubicBezTo>
                    <a:close/>
                    <a:moveTo>
                      <a:pt x="793623" y="19717"/>
                    </a:moveTo>
                    <a:cubicBezTo>
                      <a:pt x="793623" y="8763"/>
                      <a:pt x="784765" y="0"/>
                      <a:pt x="773906" y="0"/>
                    </a:cubicBezTo>
                    <a:lnTo>
                      <a:pt x="596741" y="0"/>
                    </a:lnTo>
                    <a:cubicBezTo>
                      <a:pt x="585788" y="0"/>
                      <a:pt x="577025" y="8858"/>
                      <a:pt x="577025" y="19717"/>
                    </a:cubicBezTo>
                    <a:cubicBezTo>
                      <a:pt x="577025" y="30670"/>
                      <a:pt x="585883" y="39434"/>
                      <a:pt x="596741" y="39434"/>
                    </a:cubicBezTo>
                    <a:lnTo>
                      <a:pt x="773906" y="39434"/>
                    </a:lnTo>
                    <a:cubicBezTo>
                      <a:pt x="784765" y="39434"/>
                      <a:pt x="793623" y="30670"/>
                      <a:pt x="793623" y="19717"/>
                    </a:cubicBezTo>
                    <a:close/>
                    <a:moveTo>
                      <a:pt x="1502093" y="19717"/>
                    </a:moveTo>
                    <a:cubicBezTo>
                      <a:pt x="1502093" y="8763"/>
                      <a:pt x="1493234" y="0"/>
                      <a:pt x="1482376" y="0"/>
                    </a:cubicBezTo>
                    <a:lnTo>
                      <a:pt x="1305306" y="0"/>
                    </a:lnTo>
                    <a:cubicBezTo>
                      <a:pt x="1294352" y="0"/>
                      <a:pt x="1285589" y="8858"/>
                      <a:pt x="1285589" y="19717"/>
                    </a:cubicBezTo>
                    <a:cubicBezTo>
                      <a:pt x="1285589" y="30670"/>
                      <a:pt x="1294448" y="39434"/>
                      <a:pt x="1305306" y="39434"/>
                    </a:cubicBezTo>
                    <a:lnTo>
                      <a:pt x="1482376" y="39434"/>
                    </a:lnTo>
                    <a:cubicBezTo>
                      <a:pt x="1493234" y="39434"/>
                      <a:pt x="1502093" y="30670"/>
                      <a:pt x="1502093" y="19717"/>
                    </a:cubicBezTo>
                    <a:close/>
                    <a:moveTo>
                      <a:pt x="2324481" y="5761101"/>
                    </a:moveTo>
                    <a:lnTo>
                      <a:pt x="2147316" y="5761101"/>
                    </a:lnTo>
                    <a:cubicBezTo>
                      <a:pt x="2136362" y="5761101"/>
                      <a:pt x="2127599" y="5769959"/>
                      <a:pt x="2127599" y="5780818"/>
                    </a:cubicBezTo>
                    <a:cubicBezTo>
                      <a:pt x="2127599" y="5791772"/>
                      <a:pt x="2136458" y="5800535"/>
                      <a:pt x="2147316" y="5800535"/>
                    </a:cubicBezTo>
                    <a:lnTo>
                      <a:pt x="2324481" y="5800535"/>
                    </a:lnTo>
                    <a:cubicBezTo>
                      <a:pt x="2335435" y="5800535"/>
                      <a:pt x="2344198" y="5791677"/>
                      <a:pt x="2344198" y="5780818"/>
                    </a:cubicBezTo>
                    <a:cubicBezTo>
                      <a:pt x="2344293" y="5769959"/>
                      <a:pt x="2335435" y="5761101"/>
                      <a:pt x="2324481" y="5761101"/>
                    </a:cubicBezTo>
                    <a:close/>
                    <a:moveTo>
                      <a:pt x="2564797" y="19717"/>
                    </a:moveTo>
                    <a:cubicBezTo>
                      <a:pt x="2564797" y="8763"/>
                      <a:pt x="2555939" y="0"/>
                      <a:pt x="2545080" y="0"/>
                    </a:cubicBezTo>
                    <a:lnTo>
                      <a:pt x="2367915" y="0"/>
                    </a:lnTo>
                    <a:cubicBezTo>
                      <a:pt x="2356961" y="0"/>
                      <a:pt x="2348198" y="8858"/>
                      <a:pt x="2348198" y="19717"/>
                    </a:cubicBezTo>
                    <a:cubicBezTo>
                      <a:pt x="2348198" y="30670"/>
                      <a:pt x="2357057" y="39434"/>
                      <a:pt x="2367915" y="39434"/>
                    </a:cubicBezTo>
                    <a:lnTo>
                      <a:pt x="2545080" y="39434"/>
                    </a:lnTo>
                    <a:cubicBezTo>
                      <a:pt x="2555939" y="39434"/>
                      <a:pt x="2564797" y="30670"/>
                      <a:pt x="2564797" y="19717"/>
                    </a:cubicBezTo>
                    <a:close/>
                    <a:moveTo>
                      <a:pt x="129254" y="5506403"/>
                    </a:moveTo>
                    <a:cubicBezTo>
                      <a:pt x="123349" y="5497259"/>
                      <a:pt x="111062" y="5494687"/>
                      <a:pt x="101918" y="5500592"/>
                    </a:cubicBezTo>
                    <a:cubicBezTo>
                      <a:pt x="92774" y="5506498"/>
                      <a:pt x="90202" y="5518785"/>
                      <a:pt x="96107" y="5527930"/>
                    </a:cubicBezTo>
                    <a:cubicBezTo>
                      <a:pt x="129445" y="5579269"/>
                      <a:pt x="170307" y="5624989"/>
                      <a:pt x="217551" y="5664042"/>
                    </a:cubicBezTo>
                    <a:cubicBezTo>
                      <a:pt x="221266" y="5667090"/>
                      <a:pt x="225647" y="5668613"/>
                      <a:pt x="230124" y="5668613"/>
                    </a:cubicBezTo>
                    <a:cubicBezTo>
                      <a:pt x="235839" y="5668613"/>
                      <a:pt x="241459" y="5666137"/>
                      <a:pt x="245364" y="5661470"/>
                    </a:cubicBezTo>
                    <a:cubicBezTo>
                      <a:pt x="252317" y="5653088"/>
                      <a:pt x="251079" y="5640610"/>
                      <a:pt x="242697" y="5633657"/>
                    </a:cubicBezTo>
                    <a:cubicBezTo>
                      <a:pt x="198501" y="5597176"/>
                      <a:pt x="160401" y="5554409"/>
                      <a:pt x="129254" y="5506403"/>
                    </a:cubicBezTo>
                    <a:close/>
                    <a:moveTo>
                      <a:pt x="2210562" y="19717"/>
                    </a:moveTo>
                    <a:cubicBezTo>
                      <a:pt x="2210562" y="8763"/>
                      <a:pt x="2201704" y="0"/>
                      <a:pt x="2190845" y="0"/>
                    </a:cubicBezTo>
                    <a:lnTo>
                      <a:pt x="2013776" y="0"/>
                    </a:lnTo>
                    <a:cubicBezTo>
                      <a:pt x="2002822" y="0"/>
                      <a:pt x="1994059" y="8858"/>
                      <a:pt x="1994059" y="19717"/>
                    </a:cubicBezTo>
                    <a:cubicBezTo>
                      <a:pt x="1994059" y="30670"/>
                      <a:pt x="2002917" y="39434"/>
                      <a:pt x="2013776" y="39434"/>
                    </a:cubicBezTo>
                    <a:lnTo>
                      <a:pt x="2190845" y="39434"/>
                    </a:lnTo>
                    <a:cubicBezTo>
                      <a:pt x="2201704" y="39434"/>
                      <a:pt x="2210562" y="30670"/>
                      <a:pt x="2210562" y="19717"/>
                    </a:cubicBezTo>
                    <a:close/>
                    <a:moveTo>
                      <a:pt x="1970246" y="5761101"/>
                    </a:moveTo>
                    <a:lnTo>
                      <a:pt x="1793177" y="5761101"/>
                    </a:lnTo>
                    <a:cubicBezTo>
                      <a:pt x="1782223" y="5761101"/>
                      <a:pt x="1773460" y="5769959"/>
                      <a:pt x="1773460" y="5780818"/>
                    </a:cubicBezTo>
                    <a:cubicBezTo>
                      <a:pt x="1773460" y="5791772"/>
                      <a:pt x="1782318" y="5800535"/>
                      <a:pt x="1793177" y="5800535"/>
                    </a:cubicBezTo>
                    <a:lnTo>
                      <a:pt x="1970246" y="5800535"/>
                    </a:lnTo>
                    <a:cubicBezTo>
                      <a:pt x="1981200" y="5800535"/>
                      <a:pt x="1989963" y="5791677"/>
                      <a:pt x="1989963" y="5780818"/>
                    </a:cubicBezTo>
                    <a:cubicBezTo>
                      <a:pt x="1990058" y="5769959"/>
                      <a:pt x="1981200" y="5761101"/>
                      <a:pt x="1970246" y="5761101"/>
                    </a:cubicBezTo>
                    <a:close/>
                    <a:moveTo>
                      <a:pt x="1616012" y="5761101"/>
                    </a:moveTo>
                    <a:lnTo>
                      <a:pt x="1438942" y="5761101"/>
                    </a:lnTo>
                    <a:cubicBezTo>
                      <a:pt x="1427988" y="5761101"/>
                      <a:pt x="1419225" y="5769959"/>
                      <a:pt x="1419225" y="5780818"/>
                    </a:cubicBezTo>
                    <a:cubicBezTo>
                      <a:pt x="1419225" y="5791772"/>
                      <a:pt x="1428083" y="5800535"/>
                      <a:pt x="1438942" y="5800535"/>
                    </a:cubicBezTo>
                    <a:lnTo>
                      <a:pt x="1616012" y="5800535"/>
                    </a:lnTo>
                    <a:cubicBezTo>
                      <a:pt x="1626965" y="5800535"/>
                      <a:pt x="1635728" y="5791677"/>
                      <a:pt x="1635728" y="5780818"/>
                    </a:cubicBezTo>
                    <a:cubicBezTo>
                      <a:pt x="1635824" y="5769959"/>
                      <a:pt x="1626965" y="5761101"/>
                      <a:pt x="1616012" y="5761101"/>
                    </a:cubicBezTo>
                    <a:close/>
                    <a:moveTo>
                      <a:pt x="1856327" y="19717"/>
                    </a:moveTo>
                    <a:cubicBezTo>
                      <a:pt x="1856327" y="8763"/>
                      <a:pt x="1847469" y="0"/>
                      <a:pt x="1836611" y="0"/>
                    </a:cubicBezTo>
                    <a:lnTo>
                      <a:pt x="1659541" y="0"/>
                    </a:lnTo>
                    <a:cubicBezTo>
                      <a:pt x="1648587" y="0"/>
                      <a:pt x="1639824" y="8858"/>
                      <a:pt x="1639824" y="19717"/>
                    </a:cubicBezTo>
                    <a:cubicBezTo>
                      <a:pt x="1639824" y="30670"/>
                      <a:pt x="1648682" y="39434"/>
                      <a:pt x="1659541" y="39434"/>
                    </a:cubicBezTo>
                    <a:lnTo>
                      <a:pt x="1836611" y="39434"/>
                    </a:lnTo>
                    <a:cubicBezTo>
                      <a:pt x="1847469" y="39434"/>
                      <a:pt x="1856327" y="30670"/>
                      <a:pt x="1856327" y="19717"/>
                    </a:cubicBezTo>
                    <a:close/>
                    <a:moveTo>
                      <a:pt x="554927" y="5759482"/>
                    </a:moveTo>
                    <a:cubicBezTo>
                      <a:pt x="497776" y="5755101"/>
                      <a:pt x="441960" y="5742147"/>
                      <a:pt x="389096" y="5720715"/>
                    </a:cubicBezTo>
                    <a:cubicBezTo>
                      <a:pt x="379000" y="5716620"/>
                      <a:pt x="367475" y="5721572"/>
                      <a:pt x="363379" y="5731669"/>
                    </a:cubicBezTo>
                    <a:cubicBezTo>
                      <a:pt x="359283" y="5741765"/>
                      <a:pt x="364141" y="5753291"/>
                      <a:pt x="374333" y="5757386"/>
                    </a:cubicBezTo>
                    <a:cubicBezTo>
                      <a:pt x="431006" y="5780247"/>
                      <a:pt x="490728" y="5794248"/>
                      <a:pt x="551974" y="5798915"/>
                    </a:cubicBezTo>
                    <a:cubicBezTo>
                      <a:pt x="552450" y="5798915"/>
                      <a:pt x="553022" y="5799011"/>
                      <a:pt x="553498" y="5799011"/>
                    </a:cubicBezTo>
                    <a:cubicBezTo>
                      <a:pt x="563690" y="5799011"/>
                      <a:pt x="572357" y="5791105"/>
                      <a:pt x="573215" y="5780723"/>
                    </a:cubicBezTo>
                    <a:cubicBezTo>
                      <a:pt x="573977" y="5769769"/>
                      <a:pt x="565785" y="5760339"/>
                      <a:pt x="554927" y="5759482"/>
                    </a:cubicBezTo>
                    <a:close/>
                    <a:moveTo>
                      <a:pt x="19717" y="2189893"/>
                    </a:moveTo>
                    <a:cubicBezTo>
                      <a:pt x="30671" y="2189893"/>
                      <a:pt x="39434" y="2181035"/>
                      <a:pt x="39434" y="2170176"/>
                    </a:cubicBezTo>
                    <a:lnTo>
                      <a:pt x="39434" y="1993011"/>
                    </a:lnTo>
                    <a:cubicBezTo>
                      <a:pt x="39434" y="1982057"/>
                      <a:pt x="30575" y="1973294"/>
                      <a:pt x="19717" y="1973294"/>
                    </a:cubicBezTo>
                    <a:cubicBezTo>
                      <a:pt x="8763" y="1973294"/>
                      <a:pt x="0" y="1982153"/>
                      <a:pt x="0" y="1993011"/>
                    </a:cubicBezTo>
                    <a:lnTo>
                      <a:pt x="0" y="2170176"/>
                    </a:lnTo>
                    <a:cubicBezTo>
                      <a:pt x="0" y="2181035"/>
                      <a:pt x="8858" y="2189893"/>
                      <a:pt x="19717" y="2189893"/>
                    </a:cubicBezTo>
                    <a:close/>
                    <a:moveTo>
                      <a:pt x="19717" y="2544127"/>
                    </a:moveTo>
                    <a:cubicBezTo>
                      <a:pt x="30671" y="2544127"/>
                      <a:pt x="39434" y="2535269"/>
                      <a:pt x="39434" y="2524411"/>
                    </a:cubicBezTo>
                    <a:lnTo>
                      <a:pt x="39434" y="2347341"/>
                    </a:lnTo>
                    <a:cubicBezTo>
                      <a:pt x="39434" y="2336387"/>
                      <a:pt x="30575" y="2327624"/>
                      <a:pt x="19717" y="2327624"/>
                    </a:cubicBezTo>
                    <a:cubicBezTo>
                      <a:pt x="8763" y="2327624"/>
                      <a:pt x="0" y="2336483"/>
                      <a:pt x="0" y="2347341"/>
                    </a:cubicBezTo>
                    <a:lnTo>
                      <a:pt x="0" y="2524411"/>
                    </a:lnTo>
                    <a:cubicBezTo>
                      <a:pt x="0" y="2535269"/>
                      <a:pt x="8858" y="2544127"/>
                      <a:pt x="19717" y="2544127"/>
                    </a:cubicBezTo>
                    <a:close/>
                    <a:moveTo>
                      <a:pt x="19717" y="1835658"/>
                    </a:moveTo>
                    <a:cubicBezTo>
                      <a:pt x="30671" y="1835658"/>
                      <a:pt x="39434" y="1826800"/>
                      <a:pt x="39434" y="1815941"/>
                    </a:cubicBezTo>
                    <a:lnTo>
                      <a:pt x="39434" y="1638776"/>
                    </a:lnTo>
                    <a:cubicBezTo>
                      <a:pt x="39434" y="1627823"/>
                      <a:pt x="30575" y="1619060"/>
                      <a:pt x="19717" y="1619060"/>
                    </a:cubicBezTo>
                    <a:cubicBezTo>
                      <a:pt x="8763" y="1619060"/>
                      <a:pt x="0" y="1627918"/>
                      <a:pt x="0" y="1638776"/>
                    </a:cubicBezTo>
                    <a:lnTo>
                      <a:pt x="0" y="1815941"/>
                    </a:lnTo>
                    <a:cubicBezTo>
                      <a:pt x="0" y="1826800"/>
                      <a:pt x="8858" y="1835658"/>
                      <a:pt x="19717" y="1835658"/>
                    </a:cubicBezTo>
                    <a:close/>
                    <a:moveTo>
                      <a:pt x="19717" y="772954"/>
                    </a:moveTo>
                    <a:cubicBezTo>
                      <a:pt x="30671" y="772954"/>
                      <a:pt x="39434" y="764096"/>
                      <a:pt x="39434" y="753237"/>
                    </a:cubicBezTo>
                    <a:lnTo>
                      <a:pt x="39434" y="597789"/>
                    </a:lnTo>
                    <a:cubicBezTo>
                      <a:pt x="39434" y="590741"/>
                      <a:pt x="39529" y="583787"/>
                      <a:pt x="39815" y="576739"/>
                    </a:cubicBezTo>
                    <a:cubicBezTo>
                      <a:pt x="40195" y="565880"/>
                      <a:pt x="31718" y="556641"/>
                      <a:pt x="20765" y="556260"/>
                    </a:cubicBezTo>
                    <a:cubicBezTo>
                      <a:pt x="10001" y="555879"/>
                      <a:pt x="667" y="564356"/>
                      <a:pt x="286" y="575310"/>
                    </a:cubicBezTo>
                    <a:cubicBezTo>
                      <a:pt x="95" y="582835"/>
                      <a:pt x="0" y="590264"/>
                      <a:pt x="0" y="597789"/>
                    </a:cubicBezTo>
                    <a:lnTo>
                      <a:pt x="0" y="753142"/>
                    </a:lnTo>
                    <a:cubicBezTo>
                      <a:pt x="0" y="764096"/>
                      <a:pt x="8858" y="772954"/>
                      <a:pt x="19717" y="772954"/>
                    </a:cubicBezTo>
                    <a:close/>
                    <a:moveTo>
                      <a:pt x="19717" y="1481423"/>
                    </a:moveTo>
                    <a:cubicBezTo>
                      <a:pt x="30671" y="1481423"/>
                      <a:pt x="39434" y="1472565"/>
                      <a:pt x="39434" y="1461707"/>
                    </a:cubicBezTo>
                    <a:lnTo>
                      <a:pt x="39434" y="1284637"/>
                    </a:lnTo>
                    <a:cubicBezTo>
                      <a:pt x="39434" y="1273683"/>
                      <a:pt x="30575" y="1264920"/>
                      <a:pt x="19717" y="1264920"/>
                    </a:cubicBezTo>
                    <a:cubicBezTo>
                      <a:pt x="8763" y="1264920"/>
                      <a:pt x="0" y="1273778"/>
                      <a:pt x="0" y="1284637"/>
                    </a:cubicBezTo>
                    <a:lnTo>
                      <a:pt x="0" y="1461707"/>
                    </a:lnTo>
                    <a:cubicBezTo>
                      <a:pt x="0" y="1472565"/>
                      <a:pt x="8858" y="1481423"/>
                      <a:pt x="19717" y="1481423"/>
                    </a:cubicBezTo>
                    <a:close/>
                    <a:moveTo>
                      <a:pt x="19717" y="2898362"/>
                    </a:moveTo>
                    <a:cubicBezTo>
                      <a:pt x="30671" y="2898362"/>
                      <a:pt x="39434" y="2889504"/>
                      <a:pt x="39434" y="2878646"/>
                    </a:cubicBezTo>
                    <a:lnTo>
                      <a:pt x="39434" y="2701481"/>
                    </a:lnTo>
                    <a:cubicBezTo>
                      <a:pt x="39434" y="2690527"/>
                      <a:pt x="30575" y="2681764"/>
                      <a:pt x="19717" y="2681764"/>
                    </a:cubicBezTo>
                    <a:cubicBezTo>
                      <a:pt x="8763" y="2681764"/>
                      <a:pt x="0" y="2690622"/>
                      <a:pt x="0" y="2701481"/>
                    </a:cubicBezTo>
                    <a:lnTo>
                      <a:pt x="0" y="2878646"/>
                    </a:lnTo>
                    <a:cubicBezTo>
                      <a:pt x="0" y="2889504"/>
                      <a:pt x="8858" y="2898362"/>
                      <a:pt x="19717" y="2898362"/>
                    </a:cubicBezTo>
                    <a:close/>
                    <a:moveTo>
                      <a:pt x="19717" y="1127189"/>
                    </a:moveTo>
                    <a:cubicBezTo>
                      <a:pt x="30671" y="1127189"/>
                      <a:pt x="39434" y="1118330"/>
                      <a:pt x="39434" y="1107472"/>
                    </a:cubicBezTo>
                    <a:lnTo>
                      <a:pt x="39434" y="930307"/>
                    </a:lnTo>
                    <a:cubicBezTo>
                      <a:pt x="39434" y="919353"/>
                      <a:pt x="30575" y="910590"/>
                      <a:pt x="19717" y="910590"/>
                    </a:cubicBezTo>
                    <a:cubicBezTo>
                      <a:pt x="8763" y="910590"/>
                      <a:pt x="0" y="919448"/>
                      <a:pt x="0" y="930307"/>
                    </a:cubicBezTo>
                    <a:lnTo>
                      <a:pt x="0" y="1107472"/>
                    </a:lnTo>
                    <a:cubicBezTo>
                      <a:pt x="0" y="1118330"/>
                      <a:pt x="8858" y="1127189"/>
                      <a:pt x="19717" y="1127189"/>
                    </a:cubicBezTo>
                    <a:close/>
                    <a:moveTo>
                      <a:pt x="19717" y="3961067"/>
                    </a:moveTo>
                    <a:cubicBezTo>
                      <a:pt x="30671" y="3961067"/>
                      <a:pt x="39434" y="3952208"/>
                      <a:pt x="39434" y="3941350"/>
                    </a:cubicBezTo>
                    <a:lnTo>
                      <a:pt x="39434" y="3764185"/>
                    </a:lnTo>
                    <a:cubicBezTo>
                      <a:pt x="39434" y="3753231"/>
                      <a:pt x="30575" y="3744468"/>
                      <a:pt x="19717" y="3744468"/>
                    </a:cubicBezTo>
                    <a:cubicBezTo>
                      <a:pt x="8763" y="3744468"/>
                      <a:pt x="0" y="3753326"/>
                      <a:pt x="0" y="3764185"/>
                    </a:cubicBezTo>
                    <a:lnTo>
                      <a:pt x="0" y="3941350"/>
                    </a:lnTo>
                    <a:cubicBezTo>
                      <a:pt x="0" y="3952208"/>
                      <a:pt x="8858" y="3961067"/>
                      <a:pt x="19717" y="3961067"/>
                    </a:cubicBezTo>
                    <a:close/>
                    <a:moveTo>
                      <a:pt x="19717" y="5023771"/>
                    </a:moveTo>
                    <a:cubicBezTo>
                      <a:pt x="30671" y="5023771"/>
                      <a:pt x="39434" y="5014913"/>
                      <a:pt x="39434" y="5004055"/>
                    </a:cubicBezTo>
                    <a:lnTo>
                      <a:pt x="39434" y="4826889"/>
                    </a:lnTo>
                    <a:cubicBezTo>
                      <a:pt x="39434" y="4815935"/>
                      <a:pt x="30575" y="4807173"/>
                      <a:pt x="19717" y="4807173"/>
                    </a:cubicBezTo>
                    <a:cubicBezTo>
                      <a:pt x="8763" y="4807173"/>
                      <a:pt x="0" y="4816031"/>
                      <a:pt x="0" y="4826889"/>
                    </a:cubicBezTo>
                    <a:lnTo>
                      <a:pt x="0" y="5004055"/>
                    </a:lnTo>
                    <a:cubicBezTo>
                      <a:pt x="0" y="5014913"/>
                      <a:pt x="8858" y="5023771"/>
                      <a:pt x="19717" y="5023771"/>
                    </a:cubicBezTo>
                    <a:close/>
                    <a:moveTo>
                      <a:pt x="19717" y="4669536"/>
                    </a:moveTo>
                    <a:cubicBezTo>
                      <a:pt x="30671" y="4669536"/>
                      <a:pt x="39434" y="4660678"/>
                      <a:pt x="39434" y="4649819"/>
                    </a:cubicBezTo>
                    <a:lnTo>
                      <a:pt x="39434" y="4472654"/>
                    </a:lnTo>
                    <a:cubicBezTo>
                      <a:pt x="39434" y="4461701"/>
                      <a:pt x="30575" y="4452938"/>
                      <a:pt x="19717" y="4452938"/>
                    </a:cubicBezTo>
                    <a:cubicBezTo>
                      <a:pt x="8763" y="4452938"/>
                      <a:pt x="0" y="4461796"/>
                      <a:pt x="0" y="4472654"/>
                    </a:cubicBezTo>
                    <a:lnTo>
                      <a:pt x="0" y="4649819"/>
                    </a:lnTo>
                    <a:cubicBezTo>
                      <a:pt x="0" y="4660678"/>
                      <a:pt x="8858" y="4669536"/>
                      <a:pt x="19717" y="4669536"/>
                    </a:cubicBezTo>
                    <a:close/>
                    <a:moveTo>
                      <a:pt x="39529" y="5202746"/>
                    </a:moveTo>
                    <a:lnTo>
                      <a:pt x="39529" y="5181124"/>
                    </a:lnTo>
                    <a:cubicBezTo>
                      <a:pt x="39529" y="5170171"/>
                      <a:pt x="30671" y="5161407"/>
                      <a:pt x="19812" y="5161407"/>
                    </a:cubicBezTo>
                    <a:cubicBezTo>
                      <a:pt x="8858" y="5161407"/>
                      <a:pt x="95" y="5170265"/>
                      <a:pt x="95" y="5181124"/>
                    </a:cubicBezTo>
                    <a:lnTo>
                      <a:pt x="95" y="5202746"/>
                    </a:lnTo>
                    <a:cubicBezTo>
                      <a:pt x="95" y="5256657"/>
                      <a:pt x="7239" y="5310092"/>
                      <a:pt x="21431" y="5361527"/>
                    </a:cubicBezTo>
                    <a:cubicBezTo>
                      <a:pt x="23813" y="5370290"/>
                      <a:pt x="31814" y="5376101"/>
                      <a:pt x="40481" y="5376101"/>
                    </a:cubicBezTo>
                    <a:cubicBezTo>
                      <a:pt x="42196" y="5376101"/>
                      <a:pt x="44006" y="5375910"/>
                      <a:pt x="45720" y="5375339"/>
                    </a:cubicBezTo>
                    <a:cubicBezTo>
                      <a:pt x="56198" y="5372481"/>
                      <a:pt x="62389" y="5361527"/>
                      <a:pt x="59531" y="5351050"/>
                    </a:cubicBezTo>
                    <a:cubicBezTo>
                      <a:pt x="46196" y="5303044"/>
                      <a:pt x="39529" y="5253133"/>
                      <a:pt x="39529" y="5202746"/>
                    </a:cubicBezTo>
                    <a:close/>
                    <a:moveTo>
                      <a:pt x="149638" y="232124"/>
                    </a:moveTo>
                    <a:cubicBezTo>
                      <a:pt x="140970" y="225552"/>
                      <a:pt x="128588" y="227267"/>
                      <a:pt x="121920" y="235934"/>
                    </a:cubicBezTo>
                    <a:cubicBezTo>
                      <a:pt x="84773" y="284798"/>
                      <a:pt x="55436" y="338709"/>
                      <a:pt x="34862" y="396240"/>
                    </a:cubicBezTo>
                    <a:cubicBezTo>
                      <a:pt x="31147" y="406527"/>
                      <a:pt x="36481" y="417862"/>
                      <a:pt x="46768" y="421481"/>
                    </a:cubicBezTo>
                    <a:cubicBezTo>
                      <a:pt x="48959" y="422243"/>
                      <a:pt x="51245" y="422624"/>
                      <a:pt x="53435" y="422624"/>
                    </a:cubicBezTo>
                    <a:cubicBezTo>
                      <a:pt x="61532" y="422624"/>
                      <a:pt x="69152" y="417576"/>
                      <a:pt x="72009" y="409480"/>
                    </a:cubicBezTo>
                    <a:cubicBezTo>
                      <a:pt x="91250" y="355759"/>
                      <a:pt x="118586" y="305372"/>
                      <a:pt x="153353" y="259842"/>
                    </a:cubicBezTo>
                    <a:cubicBezTo>
                      <a:pt x="160020" y="251174"/>
                      <a:pt x="158306" y="238792"/>
                      <a:pt x="149638" y="232124"/>
                    </a:cubicBezTo>
                    <a:close/>
                    <a:moveTo>
                      <a:pt x="19717" y="4315301"/>
                    </a:moveTo>
                    <a:cubicBezTo>
                      <a:pt x="30671" y="4315301"/>
                      <a:pt x="39434" y="4306443"/>
                      <a:pt x="39434" y="4295585"/>
                    </a:cubicBezTo>
                    <a:lnTo>
                      <a:pt x="39434" y="4118515"/>
                    </a:lnTo>
                    <a:cubicBezTo>
                      <a:pt x="39434" y="4107561"/>
                      <a:pt x="30575" y="4098798"/>
                      <a:pt x="19717" y="4098798"/>
                    </a:cubicBezTo>
                    <a:cubicBezTo>
                      <a:pt x="8763" y="4098798"/>
                      <a:pt x="0" y="4107656"/>
                      <a:pt x="0" y="4118515"/>
                    </a:cubicBezTo>
                    <a:lnTo>
                      <a:pt x="0" y="4295585"/>
                    </a:lnTo>
                    <a:cubicBezTo>
                      <a:pt x="0" y="4306443"/>
                      <a:pt x="8858" y="4315301"/>
                      <a:pt x="19717" y="4315301"/>
                    </a:cubicBezTo>
                    <a:close/>
                    <a:moveTo>
                      <a:pt x="19717" y="3606832"/>
                    </a:moveTo>
                    <a:cubicBezTo>
                      <a:pt x="30671" y="3606832"/>
                      <a:pt x="39434" y="3597974"/>
                      <a:pt x="39434" y="3587020"/>
                    </a:cubicBezTo>
                    <a:lnTo>
                      <a:pt x="39434" y="3409855"/>
                    </a:lnTo>
                    <a:cubicBezTo>
                      <a:pt x="39434" y="3398901"/>
                      <a:pt x="30575" y="3390138"/>
                      <a:pt x="19717" y="3390138"/>
                    </a:cubicBezTo>
                    <a:cubicBezTo>
                      <a:pt x="8763" y="3390138"/>
                      <a:pt x="0" y="3398996"/>
                      <a:pt x="0" y="3409855"/>
                    </a:cubicBezTo>
                    <a:lnTo>
                      <a:pt x="0" y="3587020"/>
                    </a:lnTo>
                    <a:cubicBezTo>
                      <a:pt x="0" y="3597974"/>
                      <a:pt x="8858" y="3606832"/>
                      <a:pt x="19717" y="3606832"/>
                    </a:cubicBezTo>
                    <a:close/>
                    <a:moveTo>
                      <a:pt x="19717" y="3252597"/>
                    </a:moveTo>
                    <a:cubicBezTo>
                      <a:pt x="30671" y="3252597"/>
                      <a:pt x="39434" y="3243739"/>
                      <a:pt x="39434" y="3232881"/>
                    </a:cubicBezTo>
                    <a:lnTo>
                      <a:pt x="39434" y="3055715"/>
                    </a:lnTo>
                    <a:cubicBezTo>
                      <a:pt x="39434" y="3044762"/>
                      <a:pt x="30575" y="3035999"/>
                      <a:pt x="19717" y="3035999"/>
                    </a:cubicBezTo>
                    <a:cubicBezTo>
                      <a:pt x="8763" y="3035999"/>
                      <a:pt x="0" y="3044857"/>
                      <a:pt x="0" y="3055715"/>
                    </a:cubicBezTo>
                    <a:lnTo>
                      <a:pt x="0" y="3232881"/>
                    </a:lnTo>
                    <a:cubicBezTo>
                      <a:pt x="0" y="3243739"/>
                      <a:pt x="8858" y="3252597"/>
                      <a:pt x="19717" y="3252597"/>
                    </a:cubicBezTo>
                    <a:close/>
                    <a:moveTo>
                      <a:pt x="5382292" y="3609594"/>
                    </a:moveTo>
                    <a:cubicBezTo>
                      <a:pt x="5371338" y="3609594"/>
                      <a:pt x="5362575" y="3618452"/>
                      <a:pt x="5362575" y="3629311"/>
                    </a:cubicBezTo>
                    <a:lnTo>
                      <a:pt x="5362575" y="3806381"/>
                    </a:lnTo>
                    <a:cubicBezTo>
                      <a:pt x="5362575" y="3817334"/>
                      <a:pt x="5371433" y="3826098"/>
                      <a:pt x="5382292" y="3826098"/>
                    </a:cubicBezTo>
                    <a:cubicBezTo>
                      <a:pt x="5393245" y="3826098"/>
                      <a:pt x="5402009" y="3817239"/>
                      <a:pt x="5402009" y="3806381"/>
                    </a:cubicBezTo>
                    <a:lnTo>
                      <a:pt x="5402009" y="3629311"/>
                    </a:lnTo>
                    <a:cubicBezTo>
                      <a:pt x="5402009" y="3618452"/>
                      <a:pt x="5393151" y="3609594"/>
                      <a:pt x="5382292" y="3609594"/>
                    </a:cubicBezTo>
                    <a:close/>
                    <a:moveTo>
                      <a:pt x="2919032" y="19717"/>
                    </a:moveTo>
                    <a:cubicBezTo>
                      <a:pt x="2919032" y="8763"/>
                      <a:pt x="2910173" y="0"/>
                      <a:pt x="2899315" y="0"/>
                    </a:cubicBezTo>
                    <a:lnTo>
                      <a:pt x="2722245" y="0"/>
                    </a:lnTo>
                    <a:cubicBezTo>
                      <a:pt x="2711291" y="0"/>
                      <a:pt x="2702528" y="8858"/>
                      <a:pt x="2702528" y="19717"/>
                    </a:cubicBezTo>
                    <a:cubicBezTo>
                      <a:pt x="2702528" y="30670"/>
                      <a:pt x="2711387" y="39434"/>
                      <a:pt x="2722245" y="39434"/>
                    </a:cubicBezTo>
                    <a:lnTo>
                      <a:pt x="2899315" y="39434"/>
                    </a:lnTo>
                    <a:cubicBezTo>
                      <a:pt x="2910173" y="39434"/>
                      <a:pt x="2919032" y="30670"/>
                      <a:pt x="2919032" y="19717"/>
                    </a:cubicBezTo>
                    <a:close/>
                    <a:moveTo>
                      <a:pt x="5382292" y="3963829"/>
                    </a:moveTo>
                    <a:cubicBezTo>
                      <a:pt x="5371338" y="3963829"/>
                      <a:pt x="5362575" y="3972687"/>
                      <a:pt x="5362575" y="3983546"/>
                    </a:cubicBezTo>
                    <a:lnTo>
                      <a:pt x="5362575" y="4160711"/>
                    </a:lnTo>
                    <a:cubicBezTo>
                      <a:pt x="5362575" y="4171664"/>
                      <a:pt x="5371433" y="4180427"/>
                      <a:pt x="5382292" y="4180427"/>
                    </a:cubicBezTo>
                    <a:cubicBezTo>
                      <a:pt x="5393245" y="4180427"/>
                      <a:pt x="5402009" y="4171569"/>
                      <a:pt x="5402009" y="4160711"/>
                    </a:cubicBezTo>
                    <a:lnTo>
                      <a:pt x="5402009" y="3983546"/>
                    </a:lnTo>
                    <a:cubicBezTo>
                      <a:pt x="5402009" y="3972687"/>
                      <a:pt x="5393151" y="3963829"/>
                      <a:pt x="5382292" y="3963829"/>
                    </a:cubicBezTo>
                    <a:close/>
                    <a:moveTo>
                      <a:pt x="5382292" y="4318064"/>
                    </a:moveTo>
                    <a:cubicBezTo>
                      <a:pt x="5371338" y="4318064"/>
                      <a:pt x="5362575" y="4326922"/>
                      <a:pt x="5362575" y="4337781"/>
                    </a:cubicBezTo>
                    <a:lnTo>
                      <a:pt x="5362575" y="4514945"/>
                    </a:lnTo>
                    <a:cubicBezTo>
                      <a:pt x="5362575" y="4525899"/>
                      <a:pt x="5371433" y="4534662"/>
                      <a:pt x="5382292" y="4534662"/>
                    </a:cubicBezTo>
                    <a:cubicBezTo>
                      <a:pt x="5393245" y="4534662"/>
                      <a:pt x="5402009" y="4525804"/>
                      <a:pt x="5402009" y="4514945"/>
                    </a:cubicBezTo>
                    <a:lnTo>
                      <a:pt x="5402009" y="4337781"/>
                    </a:lnTo>
                    <a:cubicBezTo>
                      <a:pt x="5402009" y="4326922"/>
                      <a:pt x="5393151" y="4318064"/>
                      <a:pt x="5382292" y="4318064"/>
                    </a:cubicBezTo>
                    <a:close/>
                    <a:moveTo>
                      <a:pt x="5382292" y="5026533"/>
                    </a:moveTo>
                    <a:cubicBezTo>
                      <a:pt x="5371338" y="5026533"/>
                      <a:pt x="5362575" y="5035392"/>
                      <a:pt x="5362575" y="5046250"/>
                    </a:cubicBezTo>
                    <a:lnTo>
                      <a:pt x="5362575" y="5202746"/>
                    </a:lnTo>
                    <a:cubicBezTo>
                      <a:pt x="5362575" y="5209413"/>
                      <a:pt x="5362480" y="5216081"/>
                      <a:pt x="5362194" y="5222748"/>
                    </a:cubicBezTo>
                    <a:cubicBezTo>
                      <a:pt x="5361813" y="5233607"/>
                      <a:pt x="5370290" y="5242846"/>
                      <a:pt x="5381244" y="5243227"/>
                    </a:cubicBezTo>
                    <a:cubicBezTo>
                      <a:pt x="5381435" y="5243227"/>
                      <a:pt x="5381721" y="5243227"/>
                      <a:pt x="5381911" y="5243227"/>
                    </a:cubicBezTo>
                    <a:cubicBezTo>
                      <a:pt x="5392484" y="5243227"/>
                      <a:pt x="5401247" y="5234845"/>
                      <a:pt x="5401628" y="5224177"/>
                    </a:cubicBezTo>
                    <a:cubicBezTo>
                      <a:pt x="5401914" y="5217129"/>
                      <a:pt x="5402009" y="5209985"/>
                      <a:pt x="5402009" y="5202841"/>
                    </a:cubicBezTo>
                    <a:lnTo>
                      <a:pt x="5402009" y="5046346"/>
                    </a:lnTo>
                    <a:cubicBezTo>
                      <a:pt x="5402009" y="5035392"/>
                      <a:pt x="5393151" y="5026533"/>
                      <a:pt x="5382292" y="5026533"/>
                    </a:cubicBezTo>
                    <a:close/>
                    <a:moveTo>
                      <a:pt x="5382292" y="4672299"/>
                    </a:moveTo>
                    <a:cubicBezTo>
                      <a:pt x="5371338" y="4672299"/>
                      <a:pt x="5362575" y="4681157"/>
                      <a:pt x="5362575" y="4692015"/>
                    </a:cubicBezTo>
                    <a:lnTo>
                      <a:pt x="5362575" y="4869085"/>
                    </a:lnTo>
                    <a:cubicBezTo>
                      <a:pt x="5362575" y="4880039"/>
                      <a:pt x="5371433" y="4888802"/>
                      <a:pt x="5382292" y="4888802"/>
                    </a:cubicBezTo>
                    <a:cubicBezTo>
                      <a:pt x="5393245" y="4888802"/>
                      <a:pt x="5402009" y="4879943"/>
                      <a:pt x="5402009" y="4869085"/>
                    </a:cubicBezTo>
                    <a:lnTo>
                      <a:pt x="5402009" y="4692015"/>
                    </a:lnTo>
                    <a:cubicBezTo>
                      <a:pt x="5402009" y="4681157"/>
                      <a:pt x="5393151" y="4672299"/>
                      <a:pt x="5382292" y="4672299"/>
                    </a:cubicBezTo>
                    <a:close/>
                    <a:moveTo>
                      <a:pt x="5382292" y="2901125"/>
                    </a:moveTo>
                    <a:cubicBezTo>
                      <a:pt x="5371338" y="2901125"/>
                      <a:pt x="5362575" y="2909983"/>
                      <a:pt x="5362575" y="2920841"/>
                    </a:cubicBezTo>
                    <a:lnTo>
                      <a:pt x="5362575" y="3097911"/>
                    </a:lnTo>
                    <a:cubicBezTo>
                      <a:pt x="5362575" y="3108865"/>
                      <a:pt x="5371433" y="3117628"/>
                      <a:pt x="5382292" y="3117628"/>
                    </a:cubicBezTo>
                    <a:cubicBezTo>
                      <a:pt x="5393245" y="3117628"/>
                      <a:pt x="5402009" y="3108769"/>
                      <a:pt x="5402009" y="3097911"/>
                    </a:cubicBezTo>
                    <a:lnTo>
                      <a:pt x="5402009" y="2920841"/>
                    </a:lnTo>
                    <a:cubicBezTo>
                      <a:pt x="5402009" y="2909983"/>
                      <a:pt x="5393151" y="2901125"/>
                      <a:pt x="5382292" y="2901125"/>
                    </a:cubicBezTo>
                    <a:close/>
                    <a:moveTo>
                      <a:pt x="5382292" y="2546890"/>
                    </a:moveTo>
                    <a:cubicBezTo>
                      <a:pt x="5371338" y="2546890"/>
                      <a:pt x="5362575" y="2555748"/>
                      <a:pt x="5362575" y="2566607"/>
                    </a:cubicBezTo>
                    <a:lnTo>
                      <a:pt x="5362575" y="2743772"/>
                    </a:lnTo>
                    <a:cubicBezTo>
                      <a:pt x="5362575" y="2754725"/>
                      <a:pt x="5371433" y="2763488"/>
                      <a:pt x="5382292" y="2763488"/>
                    </a:cubicBezTo>
                    <a:cubicBezTo>
                      <a:pt x="5393245" y="2763488"/>
                      <a:pt x="5402009" y="2754630"/>
                      <a:pt x="5402009" y="2743772"/>
                    </a:cubicBezTo>
                    <a:lnTo>
                      <a:pt x="5402009" y="2566607"/>
                    </a:lnTo>
                    <a:cubicBezTo>
                      <a:pt x="5402009" y="2555748"/>
                      <a:pt x="5393151" y="2546890"/>
                      <a:pt x="5382292" y="2546890"/>
                    </a:cubicBezTo>
                    <a:close/>
                    <a:moveTo>
                      <a:pt x="5382292" y="1129951"/>
                    </a:moveTo>
                    <a:cubicBezTo>
                      <a:pt x="5371338" y="1129951"/>
                      <a:pt x="5362575" y="1138809"/>
                      <a:pt x="5362575" y="1149668"/>
                    </a:cubicBezTo>
                    <a:lnTo>
                      <a:pt x="5362575" y="1326833"/>
                    </a:lnTo>
                    <a:cubicBezTo>
                      <a:pt x="5362575" y="1337786"/>
                      <a:pt x="5371433" y="1346549"/>
                      <a:pt x="5382292" y="1346549"/>
                    </a:cubicBezTo>
                    <a:cubicBezTo>
                      <a:pt x="5393245" y="1346549"/>
                      <a:pt x="5402009" y="1337691"/>
                      <a:pt x="5402009" y="1326833"/>
                    </a:cubicBezTo>
                    <a:lnTo>
                      <a:pt x="5402009" y="1149668"/>
                    </a:lnTo>
                    <a:cubicBezTo>
                      <a:pt x="5402009" y="1138809"/>
                      <a:pt x="5393151" y="1129951"/>
                      <a:pt x="5382292" y="1129951"/>
                    </a:cubicBezTo>
                    <a:close/>
                    <a:moveTo>
                      <a:pt x="5382292" y="775716"/>
                    </a:moveTo>
                    <a:cubicBezTo>
                      <a:pt x="5371338" y="775716"/>
                      <a:pt x="5362575" y="784574"/>
                      <a:pt x="5362575" y="795433"/>
                    </a:cubicBezTo>
                    <a:lnTo>
                      <a:pt x="5362575" y="972503"/>
                    </a:lnTo>
                    <a:cubicBezTo>
                      <a:pt x="5362575" y="983456"/>
                      <a:pt x="5371433" y="992219"/>
                      <a:pt x="5382292" y="992219"/>
                    </a:cubicBezTo>
                    <a:cubicBezTo>
                      <a:pt x="5393245" y="992219"/>
                      <a:pt x="5402009" y="983361"/>
                      <a:pt x="5402009" y="972503"/>
                    </a:cubicBezTo>
                    <a:lnTo>
                      <a:pt x="5402009" y="795528"/>
                    </a:lnTo>
                    <a:cubicBezTo>
                      <a:pt x="5402009" y="784574"/>
                      <a:pt x="5393151" y="775716"/>
                      <a:pt x="5382292" y="775716"/>
                    </a:cubicBezTo>
                    <a:close/>
                    <a:moveTo>
                      <a:pt x="5380387" y="437960"/>
                    </a:moveTo>
                    <a:cubicBezTo>
                      <a:pt x="5377434" y="427482"/>
                      <a:pt x="5366576" y="421291"/>
                      <a:pt x="5356098" y="424148"/>
                    </a:cubicBezTo>
                    <a:cubicBezTo>
                      <a:pt x="5345620" y="427101"/>
                      <a:pt x="5339430" y="437960"/>
                      <a:pt x="5342287" y="448437"/>
                    </a:cubicBezTo>
                    <a:cubicBezTo>
                      <a:pt x="5355718" y="496824"/>
                      <a:pt x="5362480" y="547116"/>
                      <a:pt x="5362480" y="597789"/>
                    </a:cubicBezTo>
                    <a:lnTo>
                      <a:pt x="5362480" y="618363"/>
                    </a:lnTo>
                    <a:cubicBezTo>
                      <a:pt x="5362480" y="629317"/>
                      <a:pt x="5371338" y="638080"/>
                      <a:pt x="5382197" y="638080"/>
                    </a:cubicBezTo>
                    <a:cubicBezTo>
                      <a:pt x="5393151" y="638080"/>
                      <a:pt x="5401914" y="629222"/>
                      <a:pt x="5401914" y="618363"/>
                    </a:cubicBezTo>
                    <a:lnTo>
                      <a:pt x="5401914" y="597789"/>
                    </a:lnTo>
                    <a:cubicBezTo>
                      <a:pt x="5402009" y="543497"/>
                      <a:pt x="5394770" y="489776"/>
                      <a:pt x="5380387" y="437960"/>
                    </a:cubicBezTo>
                    <a:close/>
                    <a:moveTo>
                      <a:pt x="5382292" y="2192655"/>
                    </a:moveTo>
                    <a:cubicBezTo>
                      <a:pt x="5371338" y="2192655"/>
                      <a:pt x="5362575" y="2201513"/>
                      <a:pt x="5362575" y="2212372"/>
                    </a:cubicBezTo>
                    <a:lnTo>
                      <a:pt x="5362575" y="2389537"/>
                    </a:lnTo>
                    <a:cubicBezTo>
                      <a:pt x="5362575" y="2400491"/>
                      <a:pt x="5371433" y="2409254"/>
                      <a:pt x="5382292" y="2409254"/>
                    </a:cubicBezTo>
                    <a:cubicBezTo>
                      <a:pt x="5393245" y="2409254"/>
                      <a:pt x="5402009" y="2400395"/>
                      <a:pt x="5402009" y="2389537"/>
                    </a:cubicBezTo>
                    <a:lnTo>
                      <a:pt x="5402009" y="2212372"/>
                    </a:lnTo>
                    <a:cubicBezTo>
                      <a:pt x="5402009" y="2201513"/>
                      <a:pt x="5393151" y="2192655"/>
                      <a:pt x="5382292" y="2192655"/>
                    </a:cubicBezTo>
                    <a:close/>
                    <a:moveTo>
                      <a:pt x="5355622" y="5378101"/>
                    </a:moveTo>
                    <a:cubicBezTo>
                      <a:pt x="5345335" y="5374386"/>
                      <a:pt x="5334000" y="5379815"/>
                      <a:pt x="5330381" y="5390102"/>
                    </a:cubicBezTo>
                    <a:cubicBezTo>
                      <a:pt x="5311235" y="5443919"/>
                      <a:pt x="5283994" y="5494306"/>
                      <a:pt x="5249323" y="5539931"/>
                    </a:cubicBezTo>
                    <a:cubicBezTo>
                      <a:pt x="5242751" y="5548599"/>
                      <a:pt x="5244465" y="5560981"/>
                      <a:pt x="5253133" y="5567649"/>
                    </a:cubicBezTo>
                    <a:cubicBezTo>
                      <a:pt x="5256753" y="5570315"/>
                      <a:pt x="5260944" y="5571649"/>
                      <a:pt x="5265039" y="5571649"/>
                    </a:cubicBezTo>
                    <a:cubicBezTo>
                      <a:pt x="5271040" y="5571649"/>
                      <a:pt x="5276946" y="5568982"/>
                      <a:pt x="5280755" y="5563838"/>
                    </a:cubicBezTo>
                    <a:cubicBezTo>
                      <a:pt x="5317808" y="5514975"/>
                      <a:pt x="5347049" y="5460968"/>
                      <a:pt x="5367528" y="5403342"/>
                    </a:cubicBezTo>
                    <a:cubicBezTo>
                      <a:pt x="5371243" y="5393055"/>
                      <a:pt x="5365909" y="5381720"/>
                      <a:pt x="5355622" y="5378101"/>
                    </a:cubicBezTo>
                    <a:close/>
                    <a:moveTo>
                      <a:pt x="5382292" y="1838420"/>
                    </a:moveTo>
                    <a:cubicBezTo>
                      <a:pt x="5371338" y="1838420"/>
                      <a:pt x="5362575" y="1847279"/>
                      <a:pt x="5362575" y="1858137"/>
                    </a:cubicBezTo>
                    <a:lnTo>
                      <a:pt x="5362575" y="2035207"/>
                    </a:lnTo>
                    <a:cubicBezTo>
                      <a:pt x="5362575" y="2046161"/>
                      <a:pt x="5371433" y="2054924"/>
                      <a:pt x="5382292" y="2054924"/>
                    </a:cubicBezTo>
                    <a:cubicBezTo>
                      <a:pt x="5393245" y="2054924"/>
                      <a:pt x="5402009" y="2046065"/>
                      <a:pt x="5402009" y="2035207"/>
                    </a:cubicBezTo>
                    <a:lnTo>
                      <a:pt x="5402009" y="1858137"/>
                    </a:lnTo>
                    <a:cubicBezTo>
                      <a:pt x="5402009" y="1847279"/>
                      <a:pt x="5393151" y="1838420"/>
                      <a:pt x="5382292" y="1838420"/>
                    </a:cubicBezTo>
                    <a:close/>
                    <a:moveTo>
                      <a:pt x="5382292" y="1484186"/>
                    </a:moveTo>
                    <a:cubicBezTo>
                      <a:pt x="5371338" y="1484186"/>
                      <a:pt x="5362575" y="1493044"/>
                      <a:pt x="5362575" y="1503902"/>
                    </a:cubicBezTo>
                    <a:lnTo>
                      <a:pt x="5362575" y="1681067"/>
                    </a:lnTo>
                    <a:cubicBezTo>
                      <a:pt x="5362575" y="1692021"/>
                      <a:pt x="5371433" y="1700784"/>
                      <a:pt x="5382292" y="1700784"/>
                    </a:cubicBezTo>
                    <a:cubicBezTo>
                      <a:pt x="5393245" y="1700784"/>
                      <a:pt x="5402009" y="1691926"/>
                      <a:pt x="5402009" y="1681067"/>
                    </a:cubicBezTo>
                    <a:lnTo>
                      <a:pt x="5402009" y="1503902"/>
                    </a:lnTo>
                    <a:cubicBezTo>
                      <a:pt x="5402009" y="1493044"/>
                      <a:pt x="5393151" y="1484186"/>
                      <a:pt x="5382292" y="1484186"/>
                    </a:cubicBezTo>
                    <a:close/>
                    <a:moveTo>
                      <a:pt x="5382292" y="3255359"/>
                    </a:moveTo>
                    <a:cubicBezTo>
                      <a:pt x="5371338" y="3255359"/>
                      <a:pt x="5362575" y="3264218"/>
                      <a:pt x="5362575" y="3275076"/>
                    </a:cubicBezTo>
                    <a:lnTo>
                      <a:pt x="5362575" y="3452241"/>
                    </a:lnTo>
                    <a:cubicBezTo>
                      <a:pt x="5362575" y="3463195"/>
                      <a:pt x="5371433" y="3471958"/>
                      <a:pt x="5382292" y="3471958"/>
                    </a:cubicBezTo>
                    <a:cubicBezTo>
                      <a:pt x="5393245" y="3471958"/>
                      <a:pt x="5402009" y="3463100"/>
                      <a:pt x="5402009" y="3452241"/>
                    </a:cubicBezTo>
                    <a:lnTo>
                      <a:pt x="5402009" y="3275076"/>
                    </a:lnTo>
                    <a:cubicBezTo>
                      <a:pt x="5402009" y="3264218"/>
                      <a:pt x="5393151" y="3255359"/>
                      <a:pt x="5382292" y="3255359"/>
                    </a:cubicBezTo>
                    <a:close/>
                    <a:moveTo>
                      <a:pt x="5288756" y="302228"/>
                    </a:moveTo>
                    <a:cubicBezTo>
                      <a:pt x="5292471" y="302228"/>
                      <a:pt x="5296186" y="301181"/>
                      <a:pt x="5299520" y="298990"/>
                    </a:cubicBezTo>
                    <a:cubicBezTo>
                      <a:pt x="5308664" y="292989"/>
                      <a:pt x="5311235" y="280797"/>
                      <a:pt x="5305235" y="271653"/>
                    </a:cubicBezTo>
                    <a:cubicBezTo>
                      <a:pt x="5271802" y="220409"/>
                      <a:pt x="5230844" y="174689"/>
                      <a:pt x="5183505" y="135827"/>
                    </a:cubicBezTo>
                    <a:cubicBezTo>
                      <a:pt x="5175123" y="128873"/>
                      <a:pt x="5162646" y="130111"/>
                      <a:pt x="5155693" y="138589"/>
                    </a:cubicBezTo>
                    <a:cubicBezTo>
                      <a:pt x="5148739" y="146971"/>
                      <a:pt x="5149977" y="159449"/>
                      <a:pt x="5158455" y="166402"/>
                    </a:cubicBezTo>
                    <a:cubicBezTo>
                      <a:pt x="5202651" y="202787"/>
                      <a:pt x="5240941" y="245459"/>
                      <a:pt x="5272088" y="293370"/>
                    </a:cubicBezTo>
                    <a:cubicBezTo>
                      <a:pt x="5275993" y="299085"/>
                      <a:pt x="5282280" y="302228"/>
                      <a:pt x="5288756" y="302228"/>
                    </a:cubicBezTo>
                    <a:close/>
                    <a:moveTo>
                      <a:pt x="3627501" y="19717"/>
                    </a:moveTo>
                    <a:cubicBezTo>
                      <a:pt x="3627501" y="8763"/>
                      <a:pt x="3618643" y="0"/>
                      <a:pt x="3607784" y="0"/>
                    </a:cubicBezTo>
                    <a:lnTo>
                      <a:pt x="3430715" y="0"/>
                    </a:lnTo>
                    <a:cubicBezTo>
                      <a:pt x="3419761" y="0"/>
                      <a:pt x="3410998" y="8858"/>
                      <a:pt x="3410998" y="19717"/>
                    </a:cubicBezTo>
                    <a:cubicBezTo>
                      <a:pt x="3410998" y="30670"/>
                      <a:pt x="3419856" y="39434"/>
                      <a:pt x="3430715" y="39434"/>
                    </a:cubicBezTo>
                    <a:lnTo>
                      <a:pt x="3607784" y="39434"/>
                    </a:lnTo>
                    <a:cubicBezTo>
                      <a:pt x="3618643" y="39434"/>
                      <a:pt x="3627501" y="30670"/>
                      <a:pt x="3627501" y="19717"/>
                    </a:cubicBezTo>
                    <a:close/>
                    <a:moveTo>
                      <a:pt x="3981736" y="19717"/>
                    </a:moveTo>
                    <a:cubicBezTo>
                      <a:pt x="3981736" y="8763"/>
                      <a:pt x="3972878" y="0"/>
                      <a:pt x="3962019" y="0"/>
                    </a:cubicBezTo>
                    <a:lnTo>
                      <a:pt x="3784854" y="0"/>
                    </a:lnTo>
                    <a:cubicBezTo>
                      <a:pt x="3773900" y="0"/>
                      <a:pt x="3765137" y="8858"/>
                      <a:pt x="3765137" y="19717"/>
                    </a:cubicBezTo>
                    <a:cubicBezTo>
                      <a:pt x="3765137" y="30670"/>
                      <a:pt x="3773996" y="39434"/>
                      <a:pt x="3784854" y="39434"/>
                    </a:cubicBezTo>
                    <a:lnTo>
                      <a:pt x="3962019" y="39434"/>
                    </a:lnTo>
                    <a:cubicBezTo>
                      <a:pt x="3972878" y="39434"/>
                      <a:pt x="3981736" y="30670"/>
                      <a:pt x="3981736" y="19717"/>
                    </a:cubicBezTo>
                    <a:close/>
                    <a:moveTo>
                      <a:pt x="3741420" y="5761101"/>
                    </a:moveTo>
                    <a:lnTo>
                      <a:pt x="3564255" y="5761101"/>
                    </a:lnTo>
                    <a:cubicBezTo>
                      <a:pt x="3553301" y="5761101"/>
                      <a:pt x="3544538" y="5769959"/>
                      <a:pt x="3544538" y="5780818"/>
                    </a:cubicBezTo>
                    <a:cubicBezTo>
                      <a:pt x="3544538" y="5791772"/>
                      <a:pt x="3553397" y="5800535"/>
                      <a:pt x="3564255" y="5800535"/>
                    </a:cubicBezTo>
                    <a:lnTo>
                      <a:pt x="3741420" y="5800535"/>
                    </a:lnTo>
                    <a:cubicBezTo>
                      <a:pt x="3752374" y="5800535"/>
                      <a:pt x="3761137" y="5791677"/>
                      <a:pt x="3761137" y="5780818"/>
                    </a:cubicBezTo>
                    <a:cubicBezTo>
                      <a:pt x="3761232" y="5769959"/>
                      <a:pt x="3752374" y="5761101"/>
                      <a:pt x="3741420" y="5761101"/>
                    </a:cubicBezTo>
                    <a:close/>
                    <a:moveTo>
                      <a:pt x="3032951" y="5761101"/>
                    </a:moveTo>
                    <a:lnTo>
                      <a:pt x="2855881" y="5761101"/>
                    </a:lnTo>
                    <a:cubicBezTo>
                      <a:pt x="2844927" y="5761101"/>
                      <a:pt x="2836164" y="5769959"/>
                      <a:pt x="2836164" y="5780818"/>
                    </a:cubicBezTo>
                    <a:cubicBezTo>
                      <a:pt x="2836164" y="5791772"/>
                      <a:pt x="2845022" y="5800535"/>
                      <a:pt x="2855881" y="5800535"/>
                    </a:cubicBezTo>
                    <a:lnTo>
                      <a:pt x="3032951" y="5800535"/>
                    </a:lnTo>
                    <a:cubicBezTo>
                      <a:pt x="3043904" y="5800535"/>
                      <a:pt x="3052667" y="5791677"/>
                      <a:pt x="3052667" y="5780818"/>
                    </a:cubicBezTo>
                    <a:cubicBezTo>
                      <a:pt x="3052763" y="5769959"/>
                      <a:pt x="3043904" y="5761101"/>
                      <a:pt x="3032951" y="5761101"/>
                    </a:cubicBezTo>
                    <a:close/>
                    <a:moveTo>
                      <a:pt x="3387185" y="5761101"/>
                    </a:moveTo>
                    <a:lnTo>
                      <a:pt x="3210116" y="5761101"/>
                    </a:lnTo>
                    <a:cubicBezTo>
                      <a:pt x="3199162" y="5761101"/>
                      <a:pt x="3190399" y="5769959"/>
                      <a:pt x="3190399" y="5780818"/>
                    </a:cubicBezTo>
                    <a:cubicBezTo>
                      <a:pt x="3190399" y="5791772"/>
                      <a:pt x="3199257" y="5800535"/>
                      <a:pt x="3210116" y="5800535"/>
                    </a:cubicBezTo>
                    <a:lnTo>
                      <a:pt x="3387185" y="5800535"/>
                    </a:lnTo>
                    <a:cubicBezTo>
                      <a:pt x="3398139" y="5800535"/>
                      <a:pt x="3406902" y="5791677"/>
                      <a:pt x="3406902" y="5780818"/>
                    </a:cubicBezTo>
                    <a:cubicBezTo>
                      <a:pt x="3406997" y="5769959"/>
                      <a:pt x="3398139" y="5761101"/>
                      <a:pt x="3387185" y="5761101"/>
                    </a:cubicBezTo>
                    <a:close/>
                    <a:moveTo>
                      <a:pt x="3273266" y="19717"/>
                    </a:moveTo>
                    <a:cubicBezTo>
                      <a:pt x="3273266" y="8763"/>
                      <a:pt x="3264408" y="0"/>
                      <a:pt x="3253549" y="0"/>
                    </a:cubicBezTo>
                    <a:lnTo>
                      <a:pt x="3076480" y="0"/>
                    </a:lnTo>
                    <a:cubicBezTo>
                      <a:pt x="3065526" y="0"/>
                      <a:pt x="3056763" y="8858"/>
                      <a:pt x="3056763" y="19717"/>
                    </a:cubicBezTo>
                    <a:cubicBezTo>
                      <a:pt x="3056763" y="30670"/>
                      <a:pt x="3065621" y="39434"/>
                      <a:pt x="3076480" y="39434"/>
                    </a:cubicBezTo>
                    <a:lnTo>
                      <a:pt x="3253549" y="39434"/>
                    </a:lnTo>
                    <a:cubicBezTo>
                      <a:pt x="3264408" y="39434"/>
                      <a:pt x="3273266" y="30670"/>
                      <a:pt x="3273266" y="19717"/>
                    </a:cubicBezTo>
                    <a:close/>
                    <a:moveTo>
                      <a:pt x="4095655" y="5761101"/>
                    </a:moveTo>
                    <a:lnTo>
                      <a:pt x="3918490" y="5761101"/>
                    </a:lnTo>
                    <a:cubicBezTo>
                      <a:pt x="3907536" y="5761101"/>
                      <a:pt x="3898773" y="5769959"/>
                      <a:pt x="3898773" y="5780818"/>
                    </a:cubicBezTo>
                    <a:cubicBezTo>
                      <a:pt x="3898773" y="5791772"/>
                      <a:pt x="3907631" y="5800535"/>
                      <a:pt x="3918490" y="5800535"/>
                    </a:cubicBezTo>
                    <a:lnTo>
                      <a:pt x="4095655" y="5800535"/>
                    </a:lnTo>
                    <a:cubicBezTo>
                      <a:pt x="4106609" y="5800535"/>
                      <a:pt x="4115372" y="5791677"/>
                      <a:pt x="4115372" y="5780818"/>
                    </a:cubicBezTo>
                    <a:cubicBezTo>
                      <a:pt x="4115467" y="5769959"/>
                      <a:pt x="4106609" y="5761101"/>
                      <a:pt x="4095655" y="5761101"/>
                    </a:cubicBezTo>
                    <a:close/>
                    <a:moveTo>
                      <a:pt x="5019389" y="80867"/>
                    </a:moveTo>
                    <a:cubicBezTo>
                      <a:pt x="5027200" y="80867"/>
                      <a:pt x="5034630" y="76200"/>
                      <a:pt x="5037773" y="68485"/>
                    </a:cubicBezTo>
                    <a:cubicBezTo>
                      <a:pt x="5041869" y="58388"/>
                      <a:pt x="5036915" y="46863"/>
                      <a:pt x="5026819" y="42767"/>
                    </a:cubicBezTo>
                    <a:cubicBezTo>
                      <a:pt x="4970050" y="20003"/>
                      <a:pt x="4910328" y="6191"/>
                      <a:pt x="4849082" y="1619"/>
                    </a:cubicBezTo>
                    <a:cubicBezTo>
                      <a:pt x="4838224" y="857"/>
                      <a:pt x="4828699" y="8954"/>
                      <a:pt x="4827937" y="19907"/>
                    </a:cubicBezTo>
                    <a:cubicBezTo>
                      <a:pt x="4827175" y="30766"/>
                      <a:pt x="4835271" y="40291"/>
                      <a:pt x="4846225" y="41053"/>
                    </a:cubicBezTo>
                    <a:cubicBezTo>
                      <a:pt x="4903375" y="45244"/>
                      <a:pt x="4959192" y="58198"/>
                      <a:pt x="5012151" y="79439"/>
                    </a:cubicBezTo>
                    <a:cubicBezTo>
                      <a:pt x="5014437" y="80391"/>
                      <a:pt x="5016913" y="80867"/>
                      <a:pt x="5019389" y="80867"/>
                    </a:cubicBezTo>
                    <a:close/>
                    <a:moveTo>
                      <a:pt x="4806410" y="5761101"/>
                    </a:moveTo>
                    <a:lnTo>
                      <a:pt x="4627055" y="5761101"/>
                    </a:lnTo>
                    <a:cubicBezTo>
                      <a:pt x="4616101" y="5761101"/>
                      <a:pt x="4607338" y="5769959"/>
                      <a:pt x="4607338" y="5780818"/>
                    </a:cubicBezTo>
                    <a:cubicBezTo>
                      <a:pt x="4607338" y="5791772"/>
                      <a:pt x="4616196" y="5800535"/>
                      <a:pt x="4627055" y="5800535"/>
                    </a:cubicBezTo>
                    <a:lnTo>
                      <a:pt x="4804410" y="5800535"/>
                    </a:lnTo>
                    <a:lnTo>
                      <a:pt x="4806315" y="5800535"/>
                    </a:lnTo>
                    <a:cubicBezTo>
                      <a:pt x="4817269" y="5800535"/>
                      <a:pt x="4826032" y="5791677"/>
                      <a:pt x="4826032" y="5780818"/>
                    </a:cubicBezTo>
                    <a:cubicBezTo>
                      <a:pt x="4826127" y="5769959"/>
                      <a:pt x="4817269" y="5761101"/>
                      <a:pt x="4806410" y="5761101"/>
                    </a:cubicBezTo>
                    <a:close/>
                    <a:moveTo>
                      <a:pt x="4335971" y="19717"/>
                    </a:moveTo>
                    <a:cubicBezTo>
                      <a:pt x="4335971" y="8763"/>
                      <a:pt x="4327113" y="0"/>
                      <a:pt x="4316254" y="0"/>
                    </a:cubicBezTo>
                    <a:lnTo>
                      <a:pt x="4139184" y="0"/>
                    </a:lnTo>
                    <a:cubicBezTo>
                      <a:pt x="4128230" y="0"/>
                      <a:pt x="4119467" y="8858"/>
                      <a:pt x="4119467" y="19717"/>
                    </a:cubicBezTo>
                    <a:cubicBezTo>
                      <a:pt x="4119467" y="30670"/>
                      <a:pt x="4128326" y="39434"/>
                      <a:pt x="4139184" y="39434"/>
                    </a:cubicBezTo>
                    <a:lnTo>
                      <a:pt x="4316254" y="39434"/>
                    </a:lnTo>
                    <a:cubicBezTo>
                      <a:pt x="4327113" y="39434"/>
                      <a:pt x="4335971" y="30670"/>
                      <a:pt x="4335971" y="19717"/>
                    </a:cubicBezTo>
                    <a:close/>
                    <a:moveTo>
                      <a:pt x="5126927" y="5658422"/>
                    </a:moveTo>
                    <a:cubicBezTo>
                      <a:pt x="5080159" y="5691569"/>
                      <a:pt x="5028914" y="5717191"/>
                      <a:pt x="4974622" y="5734622"/>
                    </a:cubicBezTo>
                    <a:cubicBezTo>
                      <a:pt x="4964240" y="5737956"/>
                      <a:pt x="4958525" y="5749100"/>
                      <a:pt x="4961858" y="5759482"/>
                    </a:cubicBezTo>
                    <a:cubicBezTo>
                      <a:pt x="4964526" y="5767864"/>
                      <a:pt x="4972336" y="5773198"/>
                      <a:pt x="4980718" y="5773198"/>
                    </a:cubicBezTo>
                    <a:cubicBezTo>
                      <a:pt x="4982718" y="5773198"/>
                      <a:pt x="4984719" y="5772912"/>
                      <a:pt x="4986719" y="5772245"/>
                    </a:cubicBezTo>
                    <a:cubicBezTo>
                      <a:pt x="5044917" y="5753577"/>
                      <a:pt x="5099876" y="5726145"/>
                      <a:pt x="5149882" y="5690616"/>
                    </a:cubicBezTo>
                    <a:cubicBezTo>
                      <a:pt x="5158740" y="5684330"/>
                      <a:pt x="5160931" y="5671947"/>
                      <a:pt x="5154549" y="5663089"/>
                    </a:cubicBezTo>
                    <a:cubicBezTo>
                      <a:pt x="5148167" y="5654231"/>
                      <a:pt x="5135785" y="5652135"/>
                      <a:pt x="5126927" y="5658422"/>
                    </a:cubicBezTo>
                    <a:close/>
                    <a:moveTo>
                      <a:pt x="4690206" y="19717"/>
                    </a:moveTo>
                    <a:cubicBezTo>
                      <a:pt x="4690206" y="8763"/>
                      <a:pt x="4681347" y="0"/>
                      <a:pt x="4670489" y="0"/>
                    </a:cubicBezTo>
                    <a:lnTo>
                      <a:pt x="4493419" y="0"/>
                    </a:lnTo>
                    <a:cubicBezTo>
                      <a:pt x="4482465" y="0"/>
                      <a:pt x="4473702" y="8858"/>
                      <a:pt x="4473702" y="19717"/>
                    </a:cubicBezTo>
                    <a:cubicBezTo>
                      <a:pt x="4473702" y="30670"/>
                      <a:pt x="4482560" y="39434"/>
                      <a:pt x="4493419" y="39434"/>
                    </a:cubicBezTo>
                    <a:lnTo>
                      <a:pt x="4670489" y="39434"/>
                    </a:lnTo>
                    <a:cubicBezTo>
                      <a:pt x="4681347" y="39434"/>
                      <a:pt x="4690206" y="30670"/>
                      <a:pt x="4690206" y="19717"/>
                    </a:cubicBezTo>
                    <a:close/>
                    <a:moveTo>
                      <a:pt x="4449890" y="5761101"/>
                    </a:moveTo>
                    <a:lnTo>
                      <a:pt x="4272820" y="5761101"/>
                    </a:lnTo>
                    <a:cubicBezTo>
                      <a:pt x="4261866" y="5761101"/>
                      <a:pt x="4253103" y="5769959"/>
                      <a:pt x="4253103" y="5780818"/>
                    </a:cubicBezTo>
                    <a:cubicBezTo>
                      <a:pt x="4253103" y="5791772"/>
                      <a:pt x="4261962" y="5800535"/>
                      <a:pt x="4272820" y="5800535"/>
                    </a:cubicBezTo>
                    <a:lnTo>
                      <a:pt x="4449890" y="5800535"/>
                    </a:lnTo>
                    <a:cubicBezTo>
                      <a:pt x="4460843" y="5800535"/>
                      <a:pt x="4469606" y="5791677"/>
                      <a:pt x="4469606" y="5780818"/>
                    </a:cubicBezTo>
                    <a:cubicBezTo>
                      <a:pt x="4469702" y="5769959"/>
                      <a:pt x="4460843" y="5761101"/>
                      <a:pt x="4449890" y="5761101"/>
                    </a:cubicBez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446"/>
                <a:endParaRPr lang="en-GB">
                  <a:solidFill>
                    <a:srgbClr val="000000"/>
                  </a:solidFill>
                  <a:latin typeface="Novo Apply Sans"/>
                </a:endParaRPr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826969A8-9A1B-4A27-9501-B12487FCEAF9}"/>
                  </a:ext>
                </a:extLst>
              </p:cNvPr>
              <p:cNvSpPr/>
              <p:nvPr/>
            </p:nvSpPr>
            <p:spPr>
              <a:xfrm>
                <a:off x="17323763" y="4343400"/>
                <a:ext cx="429121" cy="1692866"/>
              </a:xfrm>
              <a:custGeom>
                <a:avLst/>
                <a:gdLst>
                  <a:gd name="connsiteX0" fmla="*/ 843344 w 1500473"/>
                  <a:gd name="connsiteY0" fmla="*/ 5919312 h 5919311"/>
                  <a:gd name="connsiteX1" fmla="*/ 0 w 1500473"/>
                  <a:gd name="connsiteY1" fmla="*/ 5919312 h 5919311"/>
                  <a:gd name="connsiteX2" fmla="*/ 0 w 1500473"/>
                  <a:gd name="connsiteY2" fmla="*/ 5761196 h 5919311"/>
                  <a:gd name="connsiteX3" fmla="*/ 843344 w 1500473"/>
                  <a:gd name="connsiteY3" fmla="*/ 5761196 h 5919311"/>
                  <a:gd name="connsiteX4" fmla="*/ 1342359 w 1500473"/>
                  <a:gd name="connsiteY4" fmla="*/ 5262182 h 5919311"/>
                  <a:gd name="connsiteX5" fmla="*/ 1342359 w 1500473"/>
                  <a:gd name="connsiteY5" fmla="*/ 657130 h 5919311"/>
                  <a:gd name="connsiteX6" fmla="*/ 843344 w 1500473"/>
                  <a:gd name="connsiteY6" fmla="*/ 158020 h 5919311"/>
                  <a:gd name="connsiteX7" fmla="*/ 3239 w 1500473"/>
                  <a:gd name="connsiteY7" fmla="*/ 158020 h 5919311"/>
                  <a:gd name="connsiteX8" fmla="*/ 3239 w 1500473"/>
                  <a:gd name="connsiteY8" fmla="*/ 0 h 5919311"/>
                  <a:gd name="connsiteX9" fmla="*/ 843344 w 1500473"/>
                  <a:gd name="connsiteY9" fmla="*/ 0 h 5919311"/>
                  <a:gd name="connsiteX10" fmla="*/ 1500473 w 1500473"/>
                  <a:gd name="connsiteY10" fmla="*/ 657130 h 5919311"/>
                  <a:gd name="connsiteX11" fmla="*/ 1500473 w 1500473"/>
                  <a:gd name="connsiteY11" fmla="*/ 5262087 h 5919311"/>
                  <a:gd name="connsiteX12" fmla="*/ 843344 w 1500473"/>
                  <a:gd name="connsiteY12" fmla="*/ 5919312 h 5919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500473" h="5919311">
                    <a:moveTo>
                      <a:pt x="843344" y="5919312"/>
                    </a:moveTo>
                    <a:lnTo>
                      <a:pt x="0" y="5919312"/>
                    </a:lnTo>
                    <a:lnTo>
                      <a:pt x="0" y="5761196"/>
                    </a:lnTo>
                    <a:lnTo>
                      <a:pt x="843344" y="5761196"/>
                    </a:lnTo>
                    <a:cubicBezTo>
                      <a:pt x="1118521" y="5761196"/>
                      <a:pt x="1342359" y="5537359"/>
                      <a:pt x="1342359" y="5262182"/>
                    </a:cubicBezTo>
                    <a:lnTo>
                      <a:pt x="1342359" y="657130"/>
                    </a:lnTo>
                    <a:cubicBezTo>
                      <a:pt x="1342359" y="381953"/>
                      <a:pt x="1118521" y="158020"/>
                      <a:pt x="843344" y="158020"/>
                    </a:cubicBezTo>
                    <a:lnTo>
                      <a:pt x="3239" y="158020"/>
                    </a:lnTo>
                    <a:lnTo>
                      <a:pt x="3239" y="0"/>
                    </a:lnTo>
                    <a:lnTo>
                      <a:pt x="843344" y="0"/>
                    </a:lnTo>
                    <a:cubicBezTo>
                      <a:pt x="1205674" y="0"/>
                      <a:pt x="1500473" y="294799"/>
                      <a:pt x="1500473" y="657130"/>
                    </a:cubicBezTo>
                    <a:lnTo>
                      <a:pt x="1500473" y="5262087"/>
                    </a:lnTo>
                    <a:cubicBezTo>
                      <a:pt x="1500569" y="5624513"/>
                      <a:pt x="1205770" y="5919312"/>
                      <a:pt x="843344" y="5919312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446"/>
                <a:endParaRPr lang="en-GB">
                  <a:solidFill>
                    <a:srgbClr val="000000"/>
                  </a:solidFill>
                  <a:latin typeface="Novo Apply Sans"/>
                </a:endParaRPr>
              </a:p>
            </p:txBody>
          </p:sp>
        </p:grpSp>
        <p:pic>
          <p:nvPicPr>
            <p:cNvPr id="83" name="Graphic 82">
              <a:extLst>
                <a:ext uri="{FF2B5EF4-FFF2-40B4-BE49-F238E27FC236}">
                  <a16:creationId xmlns:a16="http://schemas.microsoft.com/office/drawing/2014/main" id="{C9D3B45A-2E99-4CE6-ADDD-DD2B4D6CB31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6848578" y="4484824"/>
              <a:ext cx="676275" cy="676275"/>
            </a:xfrm>
            <a:prstGeom prst="rect">
              <a:avLst/>
            </a:prstGeom>
          </p:spPr>
        </p:pic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4F361AEF-AA73-4DDD-8263-75C21EF89291}"/>
                </a:ext>
              </a:extLst>
            </p:cNvPr>
            <p:cNvSpPr>
              <a:spLocks/>
            </p:cNvSpPr>
            <p:nvPr/>
          </p:nvSpPr>
          <p:spPr>
            <a:xfrm>
              <a:off x="16538428" y="5283150"/>
              <a:ext cx="1281281" cy="9258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914446">
                <a:lnSpc>
                  <a:spcPts val="1400"/>
                </a:lnSpc>
              </a:pPr>
              <a:r>
                <a:rPr lang="en-GB" sz="1067" b="1" dirty="0">
                  <a:solidFill>
                    <a:srgbClr val="001965"/>
                  </a:solidFill>
                  <a:latin typeface="Novo Apply Sans" panose="020F0502020204030204" pitchFamily="34" charset="0"/>
                </a:rPr>
                <a:t>Principal Investments</a:t>
              </a:r>
            </a:p>
          </p:txBody>
        </p:sp>
      </p:grp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7EC81A3B-A632-4E26-B3C2-5061878FAB3B}"/>
              </a:ext>
            </a:extLst>
          </p:cNvPr>
          <p:cNvGrpSpPr/>
          <p:nvPr/>
        </p:nvGrpSpPr>
        <p:grpSpPr>
          <a:xfrm>
            <a:off x="8809589" y="2784239"/>
            <a:ext cx="1435580" cy="1355081"/>
            <a:chOff x="14243603" y="4176359"/>
            <a:chExt cx="2153370" cy="2032621"/>
          </a:xfrm>
        </p:grpSpPr>
        <p:grpSp>
          <p:nvGrpSpPr>
            <p:cNvPr id="125" name="Group 124">
              <a:extLst>
                <a:ext uri="{FF2B5EF4-FFF2-40B4-BE49-F238E27FC236}">
                  <a16:creationId xmlns:a16="http://schemas.microsoft.com/office/drawing/2014/main" id="{8FB12E2B-B99C-470E-A056-90883DB795DC}"/>
                </a:ext>
              </a:extLst>
            </p:cNvPr>
            <p:cNvGrpSpPr>
              <a:grpSpLocks/>
            </p:cNvGrpSpPr>
            <p:nvPr/>
          </p:nvGrpSpPr>
          <p:grpSpPr>
            <a:xfrm>
              <a:off x="14243603" y="4176359"/>
              <a:ext cx="2153370" cy="2026948"/>
              <a:chOff x="14234410" y="4343400"/>
              <a:chExt cx="1798450" cy="1692866"/>
            </a:xfrm>
          </p:grpSpPr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9C36E7FD-CE44-4BFA-9B37-1482A0004489}"/>
                  </a:ext>
                </a:extLst>
              </p:cNvPr>
              <p:cNvSpPr/>
              <p:nvPr/>
            </p:nvSpPr>
            <p:spPr>
              <a:xfrm>
                <a:off x="14364266" y="4491916"/>
                <a:ext cx="1299213" cy="1395807"/>
              </a:xfrm>
              <a:custGeom>
                <a:avLst/>
                <a:gdLst>
                  <a:gd name="connsiteX0" fmla="*/ 3985641 w 4542853"/>
                  <a:gd name="connsiteY0" fmla="*/ 4880610 h 4880609"/>
                  <a:gd name="connsiteX1" fmla="*/ 557308 w 4542853"/>
                  <a:gd name="connsiteY1" fmla="*/ 4880610 h 4880609"/>
                  <a:gd name="connsiteX2" fmla="*/ 0 w 4542853"/>
                  <a:gd name="connsiteY2" fmla="*/ 4323303 h 4880609"/>
                  <a:gd name="connsiteX3" fmla="*/ 0 w 4542853"/>
                  <a:gd name="connsiteY3" fmla="*/ 557308 h 4880609"/>
                  <a:gd name="connsiteX4" fmla="*/ 557308 w 4542853"/>
                  <a:gd name="connsiteY4" fmla="*/ 0 h 4880609"/>
                  <a:gd name="connsiteX5" fmla="*/ 3985546 w 4542853"/>
                  <a:gd name="connsiteY5" fmla="*/ 0 h 4880609"/>
                  <a:gd name="connsiteX6" fmla="*/ 4542854 w 4542853"/>
                  <a:gd name="connsiteY6" fmla="*/ 557308 h 4880609"/>
                  <a:gd name="connsiteX7" fmla="*/ 4542854 w 4542853"/>
                  <a:gd name="connsiteY7" fmla="*/ 4323303 h 4880609"/>
                  <a:gd name="connsiteX8" fmla="*/ 3985641 w 4542853"/>
                  <a:gd name="connsiteY8" fmla="*/ 4880610 h 48806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42853" h="4880609">
                    <a:moveTo>
                      <a:pt x="3985641" y="4880610"/>
                    </a:moveTo>
                    <a:lnTo>
                      <a:pt x="557308" y="4880610"/>
                    </a:lnTo>
                    <a:cubicBezTo>
                      <a:pt x="249555" y="4880610"/>
                      <a:pt x="0" y="4631150"/>
                      <a:pt x="0" y="4323303"/>
                    </a:cubicBezTo>
                    <a:lnTo>
                      <a:pt x="0" y="557308"/>
                    </a:lnTo>
                    <a:cubicBezTo>
                      <a:pt x="0" y="249555"/>
                      <a:pt x="249460" y="0"/>
                      <a:pt x="557308" y="0"/>
                    </a:cubicBezTo>
                    <a:lnTo>
                      <a:pt x="3985546" y="0"/>
                    </a:lnTo>
                    <a:cubicBezTo>
                      <a:pt x="4293299" y="0"/>
                      <a:pt x="4542854" y="249460"/>
                      <a:pt x="4542854" y="557308"/>
                    </a:cubicBezTo>
                    <a:lnTo>
                      <a:pt x="4542854" y="4323303"/>
                    </a:lnTo>
                    <a:cubicBezTo>
                      <a:pt x="4542854" y="4631055"/>
                      <a:pt x="4293394" y="4880610"/>
                      <a:pt x="3985641" y="4880610"/>
                    </a:cubicBezTo>
                    <a:close/>
                  </a:path>
                </a:pathLst>
              </a:custGeom>
              <a:solidFill>
                <a:srgbClr val="CCCCC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446"/>
                <a:endParaRPr lang="en-GB">
                  <a:solidFill>
                    <a:srgbClr val="000000"/>
                  </a:solidFill>
                  <a:latin typeface="Novo Apply Sans"/>
                </a:endParaRPr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58E432B8-88A1-495B-BCF6-C38D4D72C2B2}"/>
                  </a:ext>
                </a:extLst>
              </p:cNvPr>
              <p:cNvSpPr/>
              <p:nvPr/>
            </p:nvSpPr>
            <p:spPr>
              <a:xfrm>
                <a:off x="14363694" y="4498835"/>
                <a:ext cx="1286355" cy="1381969"/>
              </a:xfrm>
              <a:custGeom>
                <a:avLst/>
                <a:gdLst>
                  <a:gd name="connsiteX0" fmla="*/ 3940588 w 4497895"/>
                  <a:gd name="connsiteY0" fmla="*/ 4832223 h 4832223"/>
                  <a:gd name="connsiteX1" fmla="*/ 557308 w 4497895"/>
                  <a:gd name="connsiteY1" fmla="*/ 4832223 h 4832223"/>
                  <a:gd name="connsiteX2" fmla="*/ 0 w 4497895"/>
                  <a:gd name="connsiteY2" fmla="*/ 4274915 h 4832223"/>
                  <a:gd name="connsiteX3" fmla="*/ 0 w 4497895"/>
                  <a:gd name="connsiteY3" fmla="*/ 557308 h 4832223"/>
                  <a:gd name="connsiteX4" fmla="*/ 557308 w 4497895"/>
                  <a:gd name="connsiteY4" fmla="*/ 0 h 4832223"/>
                  <a:gd name="connsiteX5" fmla="*/ 3940588 w 4497895"/>
                  <a:gd name="connsiteY5" fmla="*/ 0 h 4832223"/>
                  <a:gd name="connsiteX6" fmla="*/ 4497896 w 4497895"/>
                  <a:gd name="connsiteY6" fmla="*/ 557308 h 4832223"/>
                  <a:gd name="connsiteX7" fmla="*/ 4497896 w 4497895"/>
                  <a:gd name="connsiteY7" fmla="*/ 4275011 h 4832223"/>
                  <a:gd name="connsiteX8" fmla="*/ 3940588 w 4497895"/>
                  <a:gd name="connsiteY8" fmla="*/ 4832223 h 48322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497895" h="4832223">
                    <a:moveTo>
                      <a:pt x="3940588" y="4832223"/>
                    </a:moveTo>
                    <a:lnTo>
                      <a:pt x="557308" y="4832223"/>
                    </a:lnTo>
                    <a:cubicBezTo>
                      <a:pt x="249555" y="4832223"/>
                      <a:pt x="0" y="4582764"/>
                      <a:pt x="0" y="4274915"/>
                    </a:cubicBezTo>
                    <a:lnTo>
                      <a:pt x="0" y="557308"/>
                    </a:lnTo>
                    <a:cubicBezTo>
                      <a:pt x="0" y="249555"/>
                      <a:pt x="249460" y="0"/>
                      <a:pt x="557308" y="0"/>
                    </a:cubicBezTo>
                    <a:lnTo>
                      <a:pt x="3940588" y="0"/>
                    </a:lnTo>
                    <a:cubicBezTo>
                      <a:pt x="4248341" y="0"/>
                      <a:pt x="4497896" y="249460"/>
                      <a:pt x="4497896" y="557308"/>
                    </a:cubicBezTo>
                    <a:lnTo>
                      <a:pt x="4497896" y="4275011"/>
                    </a:lnTo>
                    <a:cubicBezTo>
                      <a:pt x="4497896" y="4582764"/>
                      <a:pt x="4248341" y="4832223"/>
                      <a:pt x="3940588" y="4832223"/>
                    </a:cubicBezTo>
                    <a:close/>
                  </a:path>
                </a:pathLst>
              </a:custGeom>
              <a:solidFill>
                <a:srgbClr val="F2F2F2"/>
              </a:solidFill>
              <a:ln w="9525" cap="flat">
                <a:noFill/>
                <a:prstDash val="solid"/>
                <a:miter/>
              </a:ln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defTabSz="914446"/>
                <a:endParaRPr lang="en-GB">
                  <a:solidFill>
                    <a:srgbClr val="000000"/>
                  </a:solidFill>
                  <a:latin typeface="Novo Apply Sans"/>
                </a:endParaRPr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5E9A5A2F-875D-4BD2-8FD4-7A8FED95FC9F}"/>
                  </a:ext>
                </a:extLst>
              </p:cNvPr>
              <p:cNvSpPr/>
              <p:nvPr/>
            </p:nvSpPr>
            <p:spPr>
              <a:xfrm>
                <a:off x="14234410" y="4360371"/>
                <a:ext cx="1544923" cy="1658897"/>
              </a:xfrm>
              <a:custGeom>
                <a:avLst/>
                <a:gdLst>
                  <a:gd name="connsiteX0" fmla="*/ 1147858 w 5402008"/>
                  <a:gd name="connsiteY0" fmla="*/ 19717 h 5800534"/>
                  <a:gd name="connsiteX1" fmla="*/ 1128141 w 5402008"/>
                  <a:gd name="connsiteY1" fmla="*/ 0 h 5800534"/>
                  <a:gd name="connsiteX2" fmla="*/ 950976 w 5402008"/>
                  <a:gd name="connsiteY2" fmla="*/ 0 h 5800534"/>
                  <a:gd name="connsiteX3" fmla="*/ 931259 w 5402008"/>
                  <a:gd name="connsiteY3" fmla="*/ 19717 h 5800534"/>
                  <a:gd name="connsiteX4" fmla="*/ 950976 w 5402008"/>
                  <a:gd name="connsiteY4" fmla="*/ 39434 h 5800534"/>
                  <a:gd name="connsiteX5" fmla="*/ 1128141 w 5402008"/>
                  <a:gd name="connsiteY5" fmla="*/ 39434 h 5800534"/>
                  <a:gd name="connsiteX6" fmla="*/ 1147858 w 5402008"/>
                  <a:gd name="connsiteY6" fmla="*/ 19717 h 5800534"/>
                  <a:gd name="connsiteX7" fmla="*/ 1261872 w 5402008"/>
                  <a:gd name="connsiteY7" fmla="*/ 5761101 h 5800534"/>
                  <a:gd name="connsiteX8" fmla="*/ 1084707 w 5402008"/>
                  <a:gd name="connsiteY8" fmla="*/ 5761101 h 5800534"/>
                  <a:gd name="connsiteX9" fmla="*/ 1064990 w 5402008"/>
                  <a:gd name="connsiteY9" fmla="*/ 5780818 h 5800534"/>
                  <a:gd name="connsiteX10" fmla="*/ 1084707 w 5402008"/>
                  <a:gd name="connsiteY10" fmla="*/ 5800535 h 5800534"/>
                  <a:gd name="connsiteX11" fmla="*/ 1261872 w 5402008"/>
                  <a:gd name="connsiteY11" fmla="*/ 5800535 h 5800534"/>
                  <a:gd name="connsiteX12" fmla="*/ 1281589 w 5402008"/>
                  <a:gd name="connsiteY12" fmla="*/ 5780818 h 5800534"/>
                  <a:gd name="connsiteX13" fmla="*/ 1261872 w 5402008"/>
                  <a:gd name="connsiteY13" fmla="*/ 5761101 h 5800534"/>
                  <a:gd name="connsiteX14" fmla="*/ 907637 w 5402008"/>
                  <a:gd name="connsiteY14" fmla="*/ 5761101 h 5800534"/>
                  <a:gd name="connsiteX15" fmla="*/ 730472 w 5402008"/>
                  <a:gd name="connsiteY15" fmla="*/ 5761101 h 5800534"/>
                  <a:gd name="connsiteX16" fmla="*/ 710756 w 5402008"/>
                  <a:gd name="connsiteY16" fmla="*/ 5780818 h 5800534"/>
                  <a:gd name="connsiteX17" fmla="*/ 730472 w 5402008"/>
                  <a:gd name="connsiteY17" fmla="*/ 5800535 h 5800534"/>
                  <a:gd name="connsiteX18" fmla="*/ 907637 w 5402008"/>
                  <a:gd name="connsiteY18" fmla="*/ 5800535 h 5800534"/>
                  <a:gd name="connsiteX19" fmla="*/ 927354 w 5402008"/>
                  <a:gd name="connsiteY19" fmla="*/ 5780818 h 5800534"/>
                  <a:gd name="connsiteX20" fmla="*/ 907637 w 5402008"/>
                  <a:gd name="connsiteY20" fmla="*/ 5761101 h 5800534"/>
                  <a:gd name="connsiteX21" fmla="*/ 441293 w 5402008"/>
                  <a:gd name="connsiteY21" fmla="*/ 40767 h 5800534"/>
                  <a:gd name="connsiteX22" fmla="*/ 416433 w 5402008"/>
                  <a:gd name="connsiteY22" fmla="*/ 27908 h 5800534"/>
                  <a:gd name="connsiteX23" fmla="*/ 253079 w 5402008"/>
                  <a:gd name="connsiteY23" fmla="*/ 109157 h 5800534"/>
                  <a:gd name="connsiteX24" fmla="*/ 248317 w 5402008"/>
                  <a:gd name="connsiteY24" fmla="*/ 136684 h 5800534"/>
                  <a:gd name="connsiteX25" fmla="*/ 264509 w 5402008"/>
                  <a:gd name="connsiteY25" fmla="*/ 145066 h 5800534"/>
                  <a:gd name="connsiteX26" fmla="*/ 275939 w 5402008"/>
                  <a:gd name="connsiteY26" fmla="*/ 141446 h 5800534"/>
                  <a:gd name="connsiteX27" fmla="*/ 428435 w 5402008"/>
                  <a:gd name="connsiteY27" fmla="*/ 65532 h 5800534"/>
                  <a:gd name="connsiteX28" fmla="*/ 441293 w 5402008"/>
                  <a:gd name="connsiteY28" fmla="*/ 40767 h 5800534"/>
                  <a:gd name="connsiteX29" fmla="*/ 2678716 w 5402008"/>
                  <a:gd name="connsiteY29" fmla="*/ 5761101 h 5800534"/>
                  <a:gd name="connsiteX30" fmla="*/ 2501551 w 5402008"/>
                  <a:gd name="connsiteY30" fmla="*/ 5761101 h 5800534"/>
                  <a:gd name="connsiteX31" fmla="*/ 2481834 w 5402008"/>
                  <a:gd name="connsiteY31" fmla="*/ 5780818 h 5800534"/>
                  <a:gd name="connsiteX32" fmla="*/ 2501551 w 5402008"/>
                  <a:gd name="connsiteY32" fmla="*/ 5800535 h 5800534"/>
                  <a:gd name="connsiteX33" fmla="*/ 2678716 w 5402008"/>
                  <a:gd name="connsiteY33" fmla="*/ 5800535 h 5800534"/>
                  <a:gd name="connsiteX34" fmla="*/ 2698433 w 5402008"/>
                  <a:gd name="connsiteY34" fmla="*/ 5780818 h 5800534"/>
                  <a:gd name="connsiteX35" fmla="*/ 2678716 w 5402008"/>
                  <a:gd name="connsiteY35" fmla="*/ 5761101 h 5800534"/>
                  <a:gd name="connsiteX36" fmla="*/ 793623 w 5402008"/>
                  <a:gd name="connsiteY36" fmla="*/ 19717 h 5800534"/>
                  <a:gd name="connsiteX37" fmla="*/ 773906 w 5402008"/>
                  <a:gd name="connsiteY37" fmla="*/ 0 h 5800534"/>
                  <a:gd name="connsiteX38" fmla="*/ 596741 w 5402008"/>
                  <a:gd name="connsiteY38" fmla="*/ 0 h 5800534"/>
                  <a:gd name="connsiteX39" fmla="*/ 577025 w 5402008"/>
                  <a:gd name="connsiteY39" fmla="*/ 19717 h 5800534"/>
                  <a:gd name="connsiteX40" fmla="*/ 596741 w 5402008"/>
                  <a:gd name="connsiteY40" fmla="*/ 39434 h 5800534"/>
                  <a:gd name="connsiteX41" fmla="*/ 773906 w 5402008"/>
                  <a:gd name="connsiteY41" fmla="*/ 39434 h 5800534"/>
                  <a:gd name="connsiteX42" fmla="*/ 793623 w 5402008"/>
                  <a:gd name="connsiteY42" fmla="*/ 19717 h 5800534"/>
                  <a:gd name="connsiteX43" fmla="*/ 1502093 w 5402008"/>
                  <a:gd name="connsiteY43" fmla="*/ 19717 h 5800534"/>
                  <a:gd name="connsiteX44" fmla="*/ 1482376 w 5402008"/>
                  <a:gd name="connsiteY44" fmla="*/ 0 h 5800534"/>
                  <a:gd name="connsiteX45" fmla="*/ 1305306 w 5402008"/>
                  <a:gd name="connsiteY45" fmla="*/ 0 h 5800534"/>
                  <a:gd name="connsiteX46" fmla="*/ 1285589 w 5402008"/>
                  <a:gd name="connsiteY46" fmla="*/ 19717 h 5800534"/>
                  <a:gd name="connsiteX47" fmla="*/ 1305306 w 5402008"/>
                  <a:gd name="connsiteY47" fmla="*/ 39434 h 5800534"/>
                  <a:gd name="connsiteX48" fmla="*/ 1482376 w 5402008"/>
                  <a:gd name="connsiteY48" fmla="*/ 39434 h 5800534"/>
                  <a:gd name="connsiteX49" fmla="*/ 1502093 w 5402008"/>
                  <a:gd name="connsiteY49" fmla="*/ 19717 h 5800534"/>
                  <a:gd name="connsiteX50" fmla="*/ 2324481 w 5402008"/>
                  <a:gd name="connsiteY50" fmla="*/ 5761101 h 5800534"/>
                  <a:gd name="connsiteX51" fmla="*/ 2147316 w 5402008"/>
                  <a:gd name="connsiteY51" fmla="*/ 5761101 h 5800534"/>
                  <a:gd name="connsiteX52" fmla="*/ 2127599 w 5402008"/>
                  <a:gd name="connsiteY52" fmla="*/ 5780818 h 5800534"/>
                  <a:gd name="connsiteX53" fmla="*/ 2147316 w 5402008"/>
                  <a:gd name="connsiteY53" fmla="*/ 5800535 h 5800534"/>
                  <a:gd name="connsiteX54" fmla="*/ 2324481 w 5402008"/>
                  <a:gd name="connsiteY54" fmla="*/ 5800535 h 5800534"/>
                  <a:gd name="connsiteX55" fmla="*/ 2344198 w 5402008"/>
                  <a:gd name="connsiteY55" fmla="*/ 5780818 h 5800534"/>
                  <a:gd name="connsiteX56" fmla="*/ 2324481 w 5402008"/>
                  <a:gd name="connsiteY56" fmla="*/ 5761101 h 5800534"/>
                  <a:gd name="connsiteX57" fmla="*/ 2564797 w 5402008"/>
                  <a:gd name="connsiteY57" fmla="*/ 19717 h 5800534"/>
                  <a:gd name="connsiteX58" fmla="*/ 2545080 w 5402008"/>
                  <a:gd name="connsiteY58" fmla="*/ 0 h 5800534"/>
                  <a:gd name="connsiteX59" fmla="*/ 2367915 w 5402008"/>
                  <a:gd name="connsiteY59" fmla="*/ 0 h 5800534"/>
                  <a:gd name="connsiteX60" fmla="*/ 2348198 w 5402008"/>
                  <a:gd name="connsiteY60" fmla="*/ 19717 h 5800534"/>
                  <a:gd name="connsiteX61" fmla="*/ 2367915 w 5402008"/>
                  <a:gd name="connsiteY61" fmla="*/ 39434 h 5800534"/>
                  <a:gd name="connsiteX62" fmla="*/ 2545080 w 5402008"/>
                  <a:gd name="connsiteY62" fmla="*/ 39434 h 5800534"/>
                  <a:gd name="connsiteX63" fmla="*/ 2564797 w 5402008"/>
                  <a:gd name="connsiteY63" fmla="*/ 19717 h 5800534"/>
                  <a:gd name="connsiteX64" fmla="*/ 129254 w 5402008"/>
                  <a:gd name="connsiteY64" fmla="*/ 5506403 h 5800534"/>
                  <a:gd name="connsiteX65" fmla="*/ 101918 w 5402008"/>
                  <a:gd name="connsiteY65" fmla="*/ 5500592 h 5800534"/>
                  <a:gd name="connsiteX66" fmla="*/ 96107 w 5402008"/>
                  <a:gd name="connsiteY66" fmla="*/ 5527930 h 5800534"/>
                  <a:gd name="connsiteX67" fmla="*/ 217551 w 5402008"/>
                  <a:gd name="connsiteY67" fmla="*/ 5664042 h 5800534"/>
                  <a:gd name="connsiteX68" fmla="*/ 230124 w 5402008"/>
                  <a:gd name="connsiteY68" fmla="*/ 5668613 h 5800534"/>
                  <a:gd name="connsiteX69" fmla="*/ 245364 w 5402008"/>
                  <a:gd name="connsiteY69" fmla="*/ 5661470 h 5800534"/>
                  <a:gd name="connsiteX70" fmla="*/ 242697 w 5402008"/>
                  <a:gd name="connsiteY70" fmla="*/ 5633657 h 5800534"/>
                  <a:gd name="connsiteX71" fmla="*/ 129254 w 5402008"/>
                  <a:gd name="connsiteY71" fmla="*/ 5506403 h 5800534"/>
                  <a:gd name="connsiteX72" fmla="*/ 2210562 w 5402008"/>
                  <a:gd name="connsiteY72" fmla="*/ 19717 h 5800534"/>
                  <a:gd name="connsiteX73" fmla="*/ 2190845 w 5402008"/>
                  <a:gd name="connsiteY73" fmla="*/ 0 h 5800534"/>
                  <a:gd name="connsiteX74" fmla="*/ 2013776 w 5402008"/>
                  <a:gd name="connsiteY74" fmla="*/ 0 h 5800534"/>
                  <a:gd name="connsiteX75" fmla="*/ 1994059 w 5402008"/>
                  <a:gd name="connsiteY75" fmla="*/ 19717 h 5800534"/>
                  <a:gd name="connsiteX76" fmla="*/ 2013776 w 5402008"/>
                  <a:gd name="connsiteY76" fmla="*/ 39434 h 5800534"/>
                  <a:gd name="connsiteX77" fmla="*/ 2190845 w 5402008"/>
                  <a:gd name="connsiteY77" fmla="*/ 39434 h 5800534"/>
                  <a:gd name="connsiteX78" fmla="*/ 2210562 w 5402008"/>
                  <a:gd name="connsiteY78" fmla="*/ 19717 h 5800534"/>
                  <a:gd name="connsiteX79" fmla="*/ 1970246 w 5402008"/>
                  <a:gd name="connsiteY79" fmla="*/ 5761101 h 5800534"/>
                  <a:gd name="connsiteX80" fmla="*/ 1793177 w 5402008"/>
                  <a:gd name="connsiteY80" fmla="*/ 5761101 h 5800534"/>
                  <a:gd name="connsiteX81" fmla="*/ 1773460 w 5402008"/>
                  <a:gd name="connsiteY81" fmla="*/ 5780818 h 5800534"/>
                  <a:gd name="connsiteX82" fmla="*/ 1793177 w 5402008"/>
                  <a:gd name="connsiteY82" fmla="*/ 5800535 h 5800534"/>
                  <a:gd name="connsiteX83" fmla="*/ 1970246 w 5402008"/>
                  <a:gd name="connsiteY83" fmla="*/ 5800535 h 5800534"/>
                  <a:gd name="connsiteX84" fmla="*/ 1989963 w 5402008"/>
                  <a:gd name="connsiteY84" fmla="*/ 5780818 h 5800534"/>
                  <a:gd name="connsiteX85" fmla="*/ 1970246 w 5402008"/>
                  <a:gd name="connsiteY85" fmla="*/ 5761101 h 5800534"/>
                  <a:gd name="connsiteX86" fmla="*/ 1616012 w 5402008"/>
                  <a:gd name="connsiteY86" fmla="*/ 5761101 h 5800534"/>
                  <a:gd name="connsiteX87" fmla="*/ 1438942 w 5402008"/>
                  <a:gd name="connsiteY87" fmla="*/ 5761101 h 5800534"/>
                  <a:gd name="connsiteX88" fmla="*/ 1419225 w 5402008"/>
                  <a:gd name="connsiteY88" fmla="*/ 5780818 h 5800534"/>
                  <a:gd name="connsiteX89" fmla="*/ 1438942 w 5402008"/>
                  <a:gd name="connsiteY89" fmla="*/ 5800535 h 5800534"/>
                  <a:gd name="connsiteX90" fmla="*/ 1616012 w 5402008"/>
                  <a:gd name="connsiteY90" fmla="*/ 5800535 h 5800534"/>
                  <a:gd name="connsiteX91" fmla="*/ 1635728 w 5402008"/>
                  <a:gd name="connsiteY91" fmla="*/ 5780818 h 5800534"/>
                  <a:gd name="connsiteX92" fmla="*/ 1616012 w 5402008"/>
                  <a:gd name="connsiteY92" fmla="*/ 5761101 h 5800534"/>
                  <a:gd name="connsiteX93" fmla="*/ 1856327 w 5402008"/>
                  <a:gd name="connsiteY93" fmla="*/ 19717 h 5800534"/>
                  <a:gd name="connsiteX94" fmla="*/ 1836611 w 5402008"/>
                  <a:gd name="connsiteY94" fmla="*/ 0 h 5800534"/>
                  <a:gd name="connsiteX95" fmla="*/ 1659541 w 5402008"/>
                  <a:gd name="connsiteY95" fmla="*/ 0 h 5800534"/>
                  <a:gd name="connsiteX96" fmla="*/ 1639824 w 5402008"/>
                  <a:gd name="connsiteY96" fmla="*/ 19717 h 5800534"/>
                  <a:gd name="connsiteX97" fmla="*/ 1659541 w 5402008"/>
                  <a:gd name="connsiteY97" fmla="*/ 39434 h 5800534"/>
                  <a:gd name="connsiteX98" fmla="*/ 1836611 w 5402008"/>
                  <a:gd name="connsiteY98" fmla="*/ 39434 h 5800534"/>
                  <a:gd name="connsiteX99" fmla="*/ 1856327 w 5402008"/>
                  <a:gd name="connsiteY99" fmla="*/ 19717 h 5800534"/>
                  <a:gd name="connsiteX100" fmla="*/ 554927 w 5402008"/>
                  <a:gd name="connsiteY100" fmla="*/ 5759482 h 5800534"/>
                  <a:gd name="connsiteX101" fmla="*/ 389096 w 5402008"/>
                  <a:gd name="connsiteY101" fmla="*/ 5720715 h 5800534"/>
                  <a:gd name="connsiteX102" fmla="*/ 363379 w 5402008"/>
                  <a:gd name="connsiteY102" fmla="*/ 5731669 h 5800534"/>
                  <a:gd name="connsiteX103" fmla="*/ 374333 w 5402008"/>
                  <a:gd name="connsiteY103" fmla="*/ 5757386 h 5800534"/>
                  <a:gd name="connsiteX104" fmla="*/ 551974 w 5402008"/>
                  <a:gd name="connsiteY104" fmla="*/ 5798915 h 5800534"/>
                  <a:gd name="connsiteX105" fmla="*/ 553498 w 5402008"/>
                  <a:gd name="connsiteY105" fmla="*/ 5799011 h 5800534"/>
                  <a:gd name="connsiteX106" fmla="*/ 573215 w 5402008"/>
                  <a:gd name="connsiteY106" fmla="*/ 5780723 h 5800534"/>
                  <a:gd name="connsiteX107" fmla="*/ 554927 w 5402008"/>
                  <a:gd name="connsiteY107" fmla="*/ 5759482 h 5800534"/>
                  <a:gd name="connsiteX108" fmla="*/ 19717 w 5402008"/>
                  <a:gd name="connsiteY108" fmla="*/ 2189893 h 5800534"/>
                  <a:gd name="connsiteX109" fmla="*/ 39434 w 5402008"/>
                  <a:gd name="connsiteY109" fmla="*/ 2170176 h 5800534"/>
                  <a:gd name="connsiteX110" fmla="*/ 39434 w 5402008"/>
                  <a:gd name="connsiteY110" fmla="*/ 1993011 h 5800534"/>
                  <a:gd name="connsiteX111" fmla="*/ 19717 w 5402008"/>
                  <a:gd name="connsiteY111" fmla="*/ 1973294 h 5800534"/>
                  <a:gd name="connsiteX112" fmla="*/ 0 w 5402008"/>
                  <a:gd name="connsiteY112" fmla="*/ 1993011 h 5800534"/>
                  <a:gd name="connsiteX113" fmla="*/ 0 w 5402008"/>
                  <a:gd name="connsiteY113" fmla="*/ 2170176 h 5800534"/>
                  <a:gd name="connsiteX114" fmla="*/ 19717 w 5402008"/>
                  <a:gd name="connsiteY114" fmla="*/ 2189893 h 5800534"/>
                  <a:gd name="connsiteX115" fmla="*/ 19717 w 5402008"/>
                  <a:gd name="connsiteY115" fmla="*/ 2544127 h 5800534"/>
                  <a:gd name="connsiteX116" fmla="*/ 39434 w 5402008"/>
                  <a:gd name="connsiteY116" fmla="*/ 2524411 h 5800534"/>
                  <a:gd name="connsiteX117" fmla="*/ 39434 w 5402008"/>
                  <a:gd name="connsiteY117" fmla="*/ 2347341 h 5800534"/>
                  <a:gd name="connsiteX118" fmla="*/ 19717 w 5402008"/>
                  <a:gd name="connsiteY118" fmla="*/ 2327624 h 5800534"/>
                  <a:gd name="connsiteX119" fmla="*/ 0 w 5402008"/>
                  <a:gd name="connsiteY119" fmla="*/ 2347341 h 5800534"/>
                  <a:gd name="connsiteX120" fmla="*/ 0 w 5402008"/>
                  <a:gd name="connsiteY120" fmla="*/ 2524411 h 5800534"/>
                  <a:gd name="connsiteX121" fmla="*/ 19717 w 5402008"/>
                  <a:gd name="connsiteY121" fmla="*/ 2544127 h 5800534"/>
                  <a:gd name="connsiteX122" fmla="*/ 19717 w 5402008"/>
                  <a:gd name="connsiteY122" fmla="*/ 1835658 h 5800534"/>
                  <a:gd name="connsiteX123" fmla="*/ 39434 w 5402008"/>
                  <a:gd name="connsiteY123" fmla="*/ 1815941 h 5800534"/>
                  <a:gd name="connsiteX124" fmla="*/ 39434 w 5402008"/>
                  <a:gd name="connsiteY124" fmla="*/ 1638776 h 5800534"/>
                  <a:gd name="connsiteX125" fmla="*/ 19717 w 5402008"/>
                  <a:gd name="connsiteY125" fmla="*/ 1619060 h 5800534"/>
                  <a:gd name="connsiteX126" fmla="*/ 0 w 5402008"/>
                  <a:gd name="connsiteY126" fmla="*/ 1638776 h 5800534"/>
                  <a:gd name="connsiteX127" fmla="*/ 0 w 5402008"/>
                  <a:gd name="connsiteY127" fmla="*/ 1815941 h 5800534"/>
                  <a:gd name="connsiteX128" fmla="*/ 19717 w 5402008"/>
                  <a:gd name="connsiteY128" fmla="*/ 1835658 h 5800534"/>
                  <a:gd name="connsiteX129" fmla="*/ 19717 w 5402008"/>
                  <a:gd name="connsiteY129" fmla="*/ 772954 h 5800534"/>
                  <a:gd name="connsiteX130" fmla="*/ 39434 w 5402008"/>
                  <a:gd name="connsiteY130" fmla="*/ 753237 h 5800534"/>
                  <a:gd name="connsiteX131" fmla="*/ 39434 w 5402008"/>
                  <a:gd name="connsiteY131" fmla="*/ 597789 h 5800534"/>
                  <a:gd name="connsiteX132" fmla="*/ 39815 w 5402008"/>
                  <a:gd name="connsiteY132" fmla="*/ 576739 h 5800534"/>
                  <a:gd name="connsiteX133" fmla="*/ 20765 w 5402008"/>
                  <a:gd name="connsiteY133" fmla="*/ 556260 h 5800534"/>
                  <a:gd name="connsiteX134" fmla="*/ 286 w 5402008"/>
                  <a:gd name="connsiteY134" fmla="*/ 575310 h 5800534"/>
                  <a:gd name="connsiteX135" fmla="*/ 0 w 5402008"/>
                  <a:gd name="connsiteY135" fmla="*/ 597789 h 5800534"/>
                  <a:gd name="connsiteX136" fmla="*/ 0 w 5402008"/>
                  <a:gd name="connsiteY136" fmla="*/ 753142 h 5800534"/>
                  <a:gd name="connsiteX137" fmla="*/ 19717 w 5402008"/>
                  <a:gd name="connsiteY137" fmla="*/ 772954 h 5800534"/>
                  <a:gd name="connsiteX138" fmla="*/ 19717 w 5402008"/>
                  <a:gd name="connsiteY138" fmla="*/ 1481423 h 5800534"/>
                  <a:gd name="connsiteX139" fmla="*/ 39434 w 5402008"/>
                  <a:gd name="connsiteY139" fmla="*/ 1461707 h 5800534"/>
                  <a:gd name="connsiteX140" fmla="*/ 39434 w 5402008"/>
                  <a:gd name="connsiteY140" fmla="*/ 1284637 h 5800534"/>
                  <a:gd name="connsiteX141" fmla="*/ 19717 w 5402008"/>
                  <a:gd name="connsiteY141" fmla="*/ 1264920 h 5800534"/>
                  <a:gd name="connsiteX142" fmla="*/ 0 w 5402008"/>
                  <a:gd name="connsiteY142" fmla="*/ 1284637 h 5800534"/>
                  <a:gd name="connsiteX143" fmla="*/ 0 w 5402008"/>
                  <a:gd name="connsiteY143" fmla="*/ 1461707 h 5800534"/>
                  <a:gd name="connsiteX144" fmla="*/ 19717 w 5402008"/>
                  <a:gd name="connsiteY144" fmla="*/ 1481423 h 5800534"/>
                  <a:gd name="connsiteX145" fmla="*/ 19717 w 5402008"/>
                  <a:gd name="connsiteY145" fmla="*/ 2898362 h 5800534"/>
                  <a:gd name="connsiteX146" fmla="*/ 39434 w 5402008"/>
                  <a:gd name="connsiteY146" fmla="*/ 2878646 h 5800534"/>
                  <a:gd name="connsiteX147" fmla="*/ 39434 w 5402008"/>
                  <a:gd name="connsiteY147" fmla="*/ 2701481 h 5800534"/>
                  <a:gd name="connsiteX148" fmla="*/ 19717 w 5402008"/>
                  <a:gd name="connsiteY148" fmla="*/ 2681764 h 5800534"/>
                  <a:gd name="connsiteX149" fmla="*/ 0 w 5402008"/>
                  <a:gd name="connsiteY149" fmla="*/ 2701481 h 5800534"/>
                  <a:gd name="connsiteX150" fmla="*/ 0 w 5402008"/>
                  <a:gd name="connsiteY150" fmla="*/ 2878646 h 5800534"/>
                  <a:gd name="connsiteX151" fmla="*/ 19717 w 5402008"/>
                  <a:gd name="connsiteY151" fmla="*/ 2898362 h 5800534"/>
                  <a:gd name="connsiteX152" fmla="*/ 19717 w 5402008"/>
                  <a:gd name="connsiteY152" fmla="*/ 1127189 h 5800534"/>
                  <a:gd name="connsiteX153" fmla="*/ 39434 w 5402008"/>
                  <a:gd name="connsiteY153" fmla="*/ 1107472 h 5800534"/>
                  <a:gd name="connsiteX154" fmla="*/ 39434 w 5402008"/>
                  <a:gd name="connsiteY154" fmla="*/ 930307 h 5800534"/>
                  <a:gd name="connsiteX155" fmla="*/ 19717 w 5402008"/>
                  <a:gd name="connsiteY155" fmla="*/ 910590 h 5800534"/>
                  <a:gd name="connsiteX156" fmla="*/ 0 w 5402008"/>
                  <a:gd name="connsiteY156" fmla="*/ 930307 h 5800534"/>
                  <a:gd name="connsiteX157" fmla="*/ 0 w 5402008"/>
                  <a:gd name="connsiteY157" fmla="*/ 1107472 h 5800534"/>
                  <a:gd name="connsiteX158" fmla="*/ 19717 w 5402008"/>
                  <a:gd name="connsiteY158" fmla="*/ 1127189 h 5800534"/>
                  <a:gd name="connsiteX159" fmla="*/ 19717 w 5402008"/>
                  <a:gd name="connsiteY159" fmla="*/ 3961067 h 5800534"/>
                  <a:gd name="connsiteX160" fmla="*/ 39434 w 5402008"/>
                  <a:gd name="connsiteY160" fmla="*/ 3941350 h 5800534"/>
                  <a:gd name="connsiteX161" fmla="*/ 39434 w 5402008"/>
                  <a:gd name="connsiteY161" fmla="*/ 3764185 h 5800534"/>
                  <a:gd name="connsiteX162" fmla="*/ 19717 w 5402008"/>
                  <a:gd name="connsiteY162" fmla="*/ 3744468 h 5800534"/>
                  <a:gd name="connsiteX163" fmla="*/ 0 w 5402008"/>
                  <a:gd name="connsiteY163" fmla="*/ 3764185 h 5800534"/>
                  <a:gd name="connsiteX164" fmla="*/ 0 w 5402008"/>
                  <a:gd name="connsiteY164" fmla="*/ 3941350 h 5800534"/>
                  <a:gd name="connsiteX165" fmla="*/ 19717 w 5402008"/>
                  <a:gd name="connsiteY165" fmla="*/ 3961067 h 5800534"/>
                  <a:gd name="connsiteX166" fmla="*/ 19717 w 5402008"/>
                  <a:gd name="connsiteY166" fmla="*/ 5023771 h 5800534"/>
                  <a:gd name="connsiteX167" fmla="*/ 39434 w 5402008"/>
                  <a:gd name="connsiteY167" fmla="*/ 5004055 h 5800534"/>
                  <a:gd name="connsiteX168" fmla="*/ 39434 w 5402008"/>
                  <a:gd name="connsiteY168" fmla="*/ 4826889 h 5800534"/>
                  <a:gd name="connsiteX169" fmla="*/ 19717 w 5402008"/>
                  <a:gd name="connsiteY169" fmla="*/ 4807173 h 5800534"/>
                  <a:gd name="connsiteX170" fmla="*/ 0 w 5402008"/>
                  <a:gd name="connsiteY170" fmla="*/ 4826889 h 5800534"/>
                  <a:gd name="connsiteX171" fmla="*/ 0 w 5402008"/>
                  <a:gd name="connsiteY171" fmla="*/ 5004055 h 5800534"/>
                  <a:gd name="connsiteX172" fmla="*/ 19717 w 5402008"/>
                  <a:gd name="connsiteY172" fmla="*/ 5023771 h 5800534"/>
                  <a:gd name="connsiteX173" fmla="*/ 19717 w 5402008"/>
                  <a:gd name="connsiteY173" fmla="*/ 4669536 h 5800534"/>
                  <a:gd name="connsiteX174" fmla="*/ 39434 w 5402008"/>
                  <a:gd name="connsiteY174" fmla="*/ 4649819 h 5800534"/>
                  <a:gd name="connsiteX175" fmla="*/ 39434 w 5402008"/>
                  <a:gd name="connsiteY175" fmla="*/ 4472654 h 5800534"/>
                  <a:gd name="connsiteX176" fmla="*/ 19717 w 5402008"/>
                  <a:gd name="connsiteY176" fmla="*/ 4452938 h 5800534"/>
                  <a:gd name="connsiteX177" fmla="*/ 0 w 5402008"/>
                  <a:gd name="connsiteY177" fmla="*/ 4472654 h 5800534"/>
                  <a:gd name="connsiteX178" fmla="*/ 0 w 5402008"/>
                  <a:gd name="connsiteY178" fmla="*/ 4649819 h 5800534"/>
                  <a:gd name="connsiteX179" fmla="*/ 19717 w 5402008"/>
                  <a:gd name="connsiteY179" fmla="*/ 4669536 h 5800534"/>
                  <a:gd name="connsiteX180" fmla="*/ 39529 w 5402008"/>
                  <a:gd name="connsiteY180" fmla="*/ 5202746 h 5800534"/>
                  <a:gd name="connsiteX181" fmla="*/ 39529 w 5402008"/>
                  <a:gd name="connsiteY181" fmla="*/ 5181124 h 5800534"/>
                  <a:gd name="connsiteX182" fmla="*/ 19812 w 5402008"/>
                  <a:gd name="connsiteY182" fmla="*/ 5161407 h 5800534"/>
                  <a:gd name="connsiteX183" fmla="*/ 95 w 5402008"/>
                  <a:gd name="connsiteY183" fmla="*/ 5181124 h 5800534"/>
                  <a:gd name="connsiteX184" fmla="*/ 95 w 5402008"/>
                  <a:gd name="connsiteY184" fmla="*/ 5202746 h 5800534"/>
                  <a:gd name="connsiteX185" fmla="*/ 21431 w 5402008"/>
                  <a:gd name="connsiteY185" fmla="*/ 5361527 h 5800534"/>
                  <a:gd name="connsiteX186" fmla="*/ 40481 w 5402008"/>
                  <a:gd name="connsiteY186" fmla="*/ 5376101 h 5800534"/>
                  <a:gd name="connsiteX187" fmla="*/ 45720 w 5402008"/>
                  <a:gd name="connsiteY187" fmla="*/ 5375339 h 5800534"/>
                  <a:gd name="connsiteX188" fmla="*/ 59531 w 5402008"/>
                  <a:gd name="connsiteY188" fmla="*/ 5351050 h 5800534"/>
                  <a:gd name="connsiteX189" fmla="*/ 39529 w 5402008"/>
                  <a:gd name="connsiteY189" fmla="*/ 5202746 h 5800534"/>
                  <a:gd name="connsiteX190" fmla="*/ 149638 w 5402008"/>
                  <a:gd name="connsiteY190" fmla="*/ 232124 h 5800534"/>
                  <a:gd name="connsiteX191" fmla="*/ 121920 w 5402008"/>
                  <a:gd name="connsiteY191" fmla="*/ 235934 h 5800534"/>
                  <a:gd name="connsiteX192" fmla="*/ 34862 w 5402008"/>
                  <a:gd name="connsiteY192" fmla="*/ 396240 h 5800534"/>
                  <a:gd name="connsiteX193" fmla="*/ 46768 w 5402008"/>
                  <a:gd name="connsiteY193" fmla="*/ 421481 h 5800534"/>
                  <a:gd name="connsiteX194" fmla="*/ 53435 w 5402008"/>
                  <a:gd name="connsiteY194" fmla="*/ 422624 h 5800534"/>
                  <a:gd name="connsiteX195" fmla="*/ 72009 w 5402008"/>
                  <a:gd name="connsiteY195" fmla="*/ 409480 h 5800534"/>
                  <a:gd name="connsiteX196" fmla="*/ 153353 w 5402008"/>
                  <a:gd name="connsiteY196" fmla="*/ 259842 h 5800534"/>
                  <a:gd name="connsiteX197" fmla="*/ 149638 w 5402008"/>
                  <a:gd name="connsiteY197" fmla="*/ 232124 h 5800534"/>
                  <a:gd name="connsiteX198" fmla="*/ 19717 w 5402008"/>
                  <a:gd name="connsiteY198" fmla="*/ 4315301 h 5800534"/>
                  <a:gd name="connsiteX199" fmla="*/ 39434 w 5402008"/>
                  <a:gd name="connsiteY199" fmla="*/ 4295585 h 5800534"/>
                  <a:gd name="connsiteX200" fmla="*/ 39434 w 5402008"/>
                  <a:gd name="connsiteY200" fmla="*/ 4118515 h 5800534"/>
                  <a:gd name="connsiteX201" fmla="*/ 19717 w 5402008"/>
                  <a:gd name="connsiteY201" fmla="*/ 4098798 h 5800534"/>
                  <a:gd name="connsiteX202" fmla="*/ 0 w 5402008"/>
                  <a:gd name="connsiteY202" fmla="*/ 4118515 h 5800534"/>
                  <a:gd name="connsiteX203" fmla="*/ 0 w 5402008"/>
                  <a:gd name="connsiteY203" fmla="*/ 4295585 h 5800534"/>
                  <a:gd name="connsiteX204" fmla="*/ 19717 w 5402008"/>
                  <a:gd name="connsiteY204" fmla="*/ 4315301 h 5800534"/>
                  <a:gd name="connsiteX205" fmla="*/ 19717 w 5402008"/>
                  <a:gd name="connsiteY205" fmla="*/ 3606832 h 5800534"/>
                  <a:gd name="connsiteX206" fmla="*/ 39434 w 5402008"/>
                  <a:gd name="connsiteY206" fmla="*/ 3587020 h 5800534"/>
                  <a:gd name="connsiteX207" fmla="*/ 39434 w 5402008"/>
                  <a:gd name="connsiteY207" fmla="*/ 3409855 h 5800534"/>
                  <a:gd name="connsiteX208" fmla="*/ 19717 w 5402008"/>
                  <a:gd name="connsiteY208" fmla="*/ 3390138 h 5800534"/>
                  <a:gd name="connsiteX209" fmla="*/ 0 w 5402008"/>
                  <a:gd name="connsiteY209" fmla="*/ 3409855 h 5800534"/>
                  <a:gd name="connsiteX210" fmla="*/ 0 w 5402008"/>
                  <a:gd name="connsiteY210" fmla="*/ 3587020 h 5800534"/>
                  <a:gd name="connsiteX211" fmla="*/ 19717 w 5402008"/>
                  <a:gd name="connsiteY211" fmla="*/ 3606832 h 5800534"/>
                  <a:gd name="connsiteX212" fmla="*/ 19717 w 5402008"/>
                  <a:gd name="connsiteY212" fmla="*/ 3252597 h 5800534"/>
                  <a:gd name="connsiteX213" fmla="*/ 39434 w 5402008"/>
                  <a:gd name="connsiteY213" fmla="*/ 3232881 h 5800534"/>
                  <a:gd name="connsiteX214" fmla="*/ 39434 w 5402008"/>
                  <a:gd name="connsiteY214" fmla="*/ 3055715 h 5800534"/>
                  <a:gd name="connsiteX215" fmla="*/ 19717 w 5402008"/>
                  <a:gd name="connsiteY215" fmla="*/ 3035999 h 5800534"/>
                  <a:gd name="connsiteX216" fmla="*/ 0 w 5402008"/>
                  <a:gd name="connsiteY216" fmla="*/ 3055715 h 5800534"/>
                  <a:gd name="connsiteX217" fmla="*/ 0 w 5402008"/>
                  <a:gd name="connsiteY217" fmla="*/ 3232881 h 5800534"/>
                  <a:gd name="connsiteX218" fmla="*/ 19717 w 5402008"/>
                  <a:gd name="connsiteY218" fmla="*/ 3252597 h 5800534"/>
                  <a:gd name="connsiteX219" fmla="*/ 5382292 w 5402008"/>
                  <a:gd name="connsiteY219" fmla="*/ 3609594 h 5800534"/>
                  <a:gd name="connsiteX220" fmla="*/ 5362575 w 5402008"/>
                  <a:gd name="connsiteY220" fmla="*/ 3629311 h 5800534"/>
                  <a:gd name="connsiteX221" fmla="*/ 5362575 w 5402008"/>
                  <a:gd name="connsiteY221" fmla="*/ 3806381 h 5800534"/>
                  <a:gd name="connsiteX222" fmla="*/ 5382292 w 5402008"/>
                  <a:gd name="connsiteY222" fmla="*/ 3826098 h 5800534"/>
                  <a:gd name="connsiteX223" fmla="*/ 5402009 w 5402008"/>
                  <a:gd name="connsiteY223" fmla="*/ 3806381 h 5800534"/>
                  <a:gd name="connsiteX224" fmla="*/ 5402009 w 5402008"/>
                  <a:gd name="connsiteY224" fmla="*/ 3629311 h 5800534"/>
                  <a:gd name="connsiteX225" fmla="*/ 5382292 w 5402008"/>
                  <a:gd name="connsiteY225" fmla="*/ 3609594 h 5800534"/>
                  <a:gd name="connsiteX226" fmla="*/ 2919032 w 5402008"/>
                  <a:gd name="connsiteY226" fmla="*/ 19717 h 5800534"/>
                  <a:gd name="connsiteX227" fmla="*/ 2899315 w 5402008"/>
                  <a:gd name="connsiteY227" fmla="*/ 0 h 5800534"/>
                  <a:gd name="connsiteX228" fmla="*/ 2722245 w 5402008"/>
                  <a:gd name="connsiteY228" fmla="*/ 0 h 5800534"/>
                  <a:gd name="connsiteX229" fmla="*/ 2702528 w 5402008"/>
                  <a:gd name="connsiteY229" fmla="*/ 19717 h 5800534"/>
                  <a:gd name="connsiteX230" fmla="*/ 2722245 w 5402008"/>
                  <a:gd name="connsiteY230" fmla="*/ 39434 h 5800534"/>
                  <a:gd name="connsiteX231" fmla="*/ 2899315 w 5402008"/>
                  <a:gd name="connsiteY231" fmla="*/ 39434 h 5800534"/>
                  <a:gd name="connsiteX232" fmla="*/ 2919032 w 5402008"/>
                  <a:gd name="connsiteY232" fmla="*/ 19717 h 5800534"/>
                  <a:gd name="connsiteX233" fmla="*/ 5382292 w 5402008"/>
                  <a:gd name="connsiteY233" fmla="*/ 3963829 h 5800534"/>
                  <a:gd name="connsiteX234" fmla="*/ 5362575 w 5402008"/>
                  <a:gd name="connsiteY234" fmla="*/ 3983546 h 5800534"/>
                  <a:gd name="connsiteX235" fmla="*/ 5362575 w 5402008"/>
                  <a:gd name="connsiteY235" fmla="*/ 4160711 h 5800534"/>
                  <a:gd name="connsiteX236" fmla="*/ 5382292 w 5402008"/>
                  <a:gd name="connsiteY236" fmla="*/ 4180427 h 5800534"/>
                  <a:gd name="connsiteX237" fmla="*/ 5402009 w 5402008"/>
                  <a:gd name="connsiteY237" fmla="*/ 4160711 h 5800534"/>
                  <a:gd name="connsiteX238" fmla="*/ 5402009 w 5402008"/>
                  <a:gd name="connsiteY238" fmla="*/ 3983546 h 5800534"/>
                  <a:gd name="connsiteX239" fmla="*/ 5382292 w 5402008"/>
                  <a:gd name="connsiteY239" fmla="*/ 3963829 h 5800534"/>
                  <a:gd name="connsiteX240" fmla="*/ 5382292 w 5402008"/>
                  <a:gd name="connsiteY240" fmla="*/ 4318064 h 5800534"/>
                  <a:gd name="connsiteX241" fmla="*/ 5362575 w 5402008"/>
                  <a:gd name="connsiteY241" fmla="*/ 4337781 h 5800534"/>
                  <a:gd name="connsiteX242" fmla="*/ 5362575 w 5402008"/>
                  <a:gd name="connsiteY242" fmla="*/ 4514945 h 5800534"/>
                  <a:gd name="connsiteX243" fmla="*/ 5382292 w 5402008"/>
                  <a:gd name="connsiteY243" fmla="*/ 4534662 h 5800534"/>
                  <a:gd name="connsiteX244" fmla="*/ 5402009 w 5402008"/>
                  <a:gd name="connsiteY244" fmla="*/ 4514945 h 5800534"/>
                  <a:gd name="connsiteX245" fmla="*/ 5402009 w 5402008"/>
                  <a:gd name="connsiteY245" fmla="*/ 4337781 h 5800534"/>
                  <a:gd name="connsiteX246" fmla="*/ 5382292 w 5402008"/>
                  <a:gd name="connsiteY246" fmla="*/ 4318064 h 5800534"/>
                  <a:gd name="connsiteX247" fmla="*/ 5382292 w 5402008"/>
                  <a:gd name="connsiteY247" fmla="*/ 5026533 h 5800534"/>
                  <a:gd name="connsiteX248" fmla="*/ 5362575 w 5402008"/>
                  <a:gd name="connsiteY248" fmla="*/ 5046250 h 5800534"/>
                  <a:gd name="connsiteX249" fmla="*/ 5362575 w 5402008"/>
                  <a:gd name="connsiteY249" fmla="*/ 5202746 h 5800534"/>
                  <a:gd name="connsiteX250" fmla="*/ 5362194 w 5402008"/>
                  <a:gd name="connsiteY250" fmla="*/ 5222748 h 5800534"/>
                  <a:gd name="connsiteX251" fmla="*/ 5381244 w 5402008"/>
                  <a:gd name="connsiteY251" fmla="*/ 5243227 h 5800534"/>
                  <a:gd name="connsiteX252" fmla="*/ 5381911 w 5402008"/>
                  <a:gd name="connsiteY252" fmla="*/ 5243227 h 5800534"/>
                  <a:gd name="connsiteX253" fmla="*/ 5401628 w 5402008"/>
                  <a:gd name="connsiteY253" fmla="*/ 5224177 h 5800534"/>
                  <a:gd name="connsiteX254" fmla="*/ 5402009 w 5402008"/>
                  <a:gd name="connsiteY254" fmla="*/ 5202841 h 5800534"/>
                  <a:gd name="connsiteX255" fmla="*/ 5402009 w 5402008"/>
                  <a:gd name="connsiteY255" fmla="*/ 5046346 h 5800534"/>
                  <a:gd name="connsiteX256" fmla="*/ 5382292 w 5402008"/>
                  <a:gd name="connsiteY256" fmla="*/ 5026533 h 5800534"/>
                  <a:gd name="connsiteX257" fmla="*/ 5382292 w 5402008"/>
                  <a:gd name="connsiteY257" fmla="*/ 4672299 h 5800534"/>
                  <a:gd name="connsiteX258" fmla="*/ 5362575 w 5402008"/>
                  <a:gd name="connsiteY258" fmla="*/ 4692015 h 5800534"/>
                  <a:gd name="connsiteX259" fmla="*/ 5362575 w 5402008"/>
                  <a:gd name="connsiteY259" fmla="*/ 4869085 h 5800534"/>
                  <a:gd name="connsiteX260" fmla="*/ 5382292 w 5402008"/>
                  <a:gd name="connsiteY260" fmla="*/ 4888802 h 5800534"/>
                  <a:gd name="connsiteX261" fmla="*/ 5402009 w 5402008"/>
                  <a:gd name="connsiteY261" fmla="*/ 4869085 h 5800534"/>
                  <a:gd name="connsiteX262" fmla="*/ 5402009 w 5402008"/>
                  <a:gd name="connsiteY262" fmla="*/ 4692015 h 5800534"/>
                  <a:gd name="connsiteX263" fmla="*/ 5382292 w 5402008"/>
                  <a:gd name="connsiteY263" fmla="*/ 4672299 h 5800534"/>
                  <a:gd name="connsiteX264" fmla="*/ 5382292 w 5402008"/>
                  <a:gd name="connsiteY264" fmla="*/ 2901125 h 5800534"/>
                  <a:gd name="connsiteX265" fmla="*/ 5362575 w 5402008"/>
                  <a:gd name="connsiteY265" fmla="*/ 2920841 h 5800534"/>
                  <a:gd name="connsiteX266" fmla="*/ 5362575 w 5402008"/>
                  <a:gd name="connsiteY266" fmla="*/ 3097911 h 5800534"/>
                  <a:gd name="connsiteX267" fmla="*/ 5382292 w 5402008"/>
                  <a:gd name="connsiteY267" fmla="*/ 3117628 h 5800534"/>
                  <a:gd name="connsiteX268" fmla="*/ 5402009 w 5402008"/>
                  <a:gd name="connsiteY268" fmla="*/ 3097911 h 5800534"/>
                  <a:gd name="connsiteX269" fmla="*/ 5402009 w 5402008"/>
                  <a:gd name="connsiteY269" fmla="*/ 2920841 h 5800534"/>
                  <a:gd name="connsiteX270" fmla="*/ 5382292 w 5402008"/>
                  <a:gd name="connsiteY270" fmla="*/ 2901125 h 5800534"/>
                  <a:gd name="connsiteX271" fmla="*/ 5382292 w 5402008"/>
                  <a:gd name="connsiteY271" fmla="*/ 2546890 h 5800534"/>
                  <a:gd name="connsiteX272" fmla="*/ 5362575 w 5402008"/>
                  <a:gd name="connsiteY272" fmla="*/ 2566607 h 5800534"/>
                  <a:gd name="connsiteX273" fmla="*/ 5362575 w 5402008"/>
                  <a:gd name="connsiteY273" fmla="*/ 2743772 h 5800534"/>
                  <a:gd name="connsiteX274" fmla="*/ 5382292 w 5402008"/>
                  <a:gd name="connsiteY274" fmla="*/ 2763488 h 5800534"/>
                  <a:gd name="connsiteX275" fmla="*/ 5402009 w 5402008"/>
                  <a:gd name="connsiteY275" fmla="*/ 2743772 h 5800534"/>
                  <a:gd name="connsiteX276" fmla="*/ 5402009 w 5402008"/>
                  <a:gd name="connsiteY276" fmla="*/ 2566607 h 5800534"/>
                  <a:gd name="connsiteX277" fmla="*/ 5382292 w 5402008"/>
                  <a:gd name="connsiteY277" fmla="*/ 2546890 h 5800534"/>
                  <a:gd name="connsiteX278" fmla="*/ 5382292 w 5402008"/>
                  <a:gd name="connsiteY278" fmla="*/ 1129951 h 5800534"/>
                  <a:gd name="connsiteX279" fmla="*/ 5362575 w 5402008"/>
                  <a:gd name="connsiteY279" fmla="*/ 1149668 h 5800534"/>
                  <a:gd name="connsiteX280" fmla="*/ 5362575 w 5402008"/>
                  <a:gd name="connsiteY280" fmla="*/ 1326833 h 5800534"/>
                  <a:gd name="connsiteX281" fmla="*/ 5382292 w 5402008"/>
                  <a:gd name="connsiteY281" fmla="*/ 1346549 h 5800534"/>
                  <a:gd name="connsiteX282" fmla="*/ 5402009 w 5402008"/>
                  <a:gd name="connsiteY282" fmla="*/ 1326833 h 5800534"/>
                  <a:gd name="connsiteX283" fmla="*/ 5402009 w 5402008"/>
                  <a:gd name="connsiteY283" fmla="*/ 1149668 h 5800534"/>
                  <a:gd name="connsiteX284" fmla="*/ 5382292 w 5402008"/>
                  <a:gd name="connsiteY284" fmla="*/ 1129951 h 5800534"/>
                  <a:gd name="connsiteX285" fmla="*/ 5382292 w 5402008"/>
                  <a:gd name="connsiteY285" fmla="*/ 775716 h 5800534"/>
                  <a:gd name="connsiteX286" fmla="*/ 5362575 w 5402008"/>
                  <a:gd name="connsiteY286" fmla="*/ 795433 h 5800534"/>
                  <a:gd name="connsiteX287" fmla="*/ 5362575 w 5402008"/>
                  <a:gd name="connsiteY287" fmla="*/ 972503 h 5800534"/>
                  <a:gd name="connsiteX288" fmla="*/ 5382292 w 5402008"/>
                  <a:gd name="connsiteY288" fmla="*/ 992219 h 5800534"/>
                  <a:gd name="connsiteX289" fmla="*/ 5402009 w 5402008"/>
                  <a:gd name="connsiteY289" fmla="*/ 972503 h 5800534"/>
                  <a:gd name="connsiteX290" fmla="*/ 5402009 w 5402008"/>
                  <a:gd name="connsiteY290" fmla="*/ 795528 h 5800534"/>
                  <a:gd name="connsiteX291" fmla="*/ 5382292 w 5402008"/>
                  <a:gd name="connsiteY291" fmla="*/ 775716 h 5800534"/>
                  <a:gd name="connsiteX292" fmla="*/ 5380387 w 5402008"/>
                  <a:gd name="connsiteY292" fmla="*/ 437960 h 5800534"/>
                  <a:gd name="connsiteX293" fmla="*/ 5356098 w 5402008"/>
                  <a:gd name="connsiteY293" fmla="*/ 424148 h 5800534"/>
                  <a:gd name="connsiteX294" fmla="*/ 5342287 w 5402008"/>
                  <a:gd name="connsiteY294" fmla="*/ 448437 h 5800534"/>
                  <a:gd name="connsiteX295" fmla="*/ 5362480 w 5402008"/>
                  <a:gd name="connsiteY295" fmla="*/ 597789 h 5800534"/>
                  <a:gd name="connsiteX296" fmla="*/ 5362480 w 5402008"/>
                  <a:gd name="connsiteY296" fmla="*/ 618363 h 5800534"/>
                  <a:gd name="connsiteX297" fmla="*/ 5382197 w 5402008"/>
                  <a:gd name="connsiteY297" fmla="*/ 638080 h 5800534"/>
                  <a:gd name="connsiteX298" fmla="*/ 5401914 w 5402008"/>
                  <a:gd name="connsiteY298" fmla="*/ 618363 h 5800534"/>
                  <a:gd name="connsiteX299" fmla="*/ 5401914 w 5402008"/>
                  <a:gd name="connsiteY299" fmla="*/ 597789 h 5800534"/>
                  <a:gd name="connsiteX300" fmla="*/ 5380387 w 5402008"/>
                  <a:gd name="connsiteY300" fmla="*/ 437960 h 5800534"/>
                  <a:gd name="connsiteX301" fmla="*/ 5382292 w 5402008"/>
                  <a:gd name="connsiteY301" fmla="*/ 2192655 h 5800534"/>
                  <a:gd name="connsiteX302" fmla="*/ 5362575 w 5402008"/>
                  <a:gd name="connsiteY302" fmla="*/ 2212372 h 5800534"/>
                  <a:gd name="connsiteX303" fmla="*/ 5362575 w 5402008"/>
                  <a:gd name="connsiteY303" fmla="*/ 2389537 h 5800534"/>
                  <a:gd name="connsiteX304" fmla="*/ 5382292 w 5402008"/>
                  <a:gd name="connsiteY304" fmla="*/ 2409254 h 5800534"/>
                  <a:gd name="connsiteX305" fmla="*/ 5402009 w 5402008"/>
                  <a:gd name="connsiteY305" fmla="*/ 2389537 h 5800534"/>
                  <a:gd name="connsiteX306" fmla="*/ 5402009 w 5402008"/>
                  <a:gd name="connsiteY306" fmla="*/ 2212372 h 5800534"/>
                  <a:gd name="connsiteX307" fmla="*/ 5382292 w 5402008"/>
                  <a:gd name="connsiteY307" fmla="*/ 2192655 h 5800534"/>
                  <a:gd name="connsiteX308" fmla="*/ 5355622 w 5402008"/>
                  <a:gd name="connsiteY308" fmla="*/ 5378101 h 5800534"/>
                  <a:gd name="connsiteX309" fmla="*/ 5330381 w 5402008"/>
                  <a:gd name="connsiteY309" fmla="*/ 5390102 h 5800534"/>
                  <a:gd name="connsiteX310" fmla="*/ 5249323 w 5402008"/>
                  <a:gd name="connsiteY310" fmla="*/ 5539931 h 5800534"/>
                  <a:gd name="connsiteX311" fmla="*/ 5253133 w 5402008"/>
                  <a:gd name="connsiteY311" fmla="*/ 5567649 h 5800534"/>
                  <a:gd name="connsiteX312" fmla="*/ 5265039 w 5402008"/>
                  <a:gd name="connsiteY312" fmla="*/ 5571649 h 5800534"/>
                  <a:gd name="connsiteX313" fmla="*/ 5280755 w 5402008"/>
                  <a:gd name="connsiteY313" fmla="*/ 5563838 h 5800534"/>
                  <a:gd name="connsiteX314" fmla="*/ 5367528 w 5402008"/>
                  <a:gd name="connsiteY314" fmla="*/ 5403342 h 5800534"/>
                  <a:gd name="connsiteX315" fmla="*/ 5355622 w 5402008"/>
                  <a:gd name="connsiteY315" fmla="*/ 5378101 h 5800534"/>
                  <a:gd name="connsiteX316" fmla="*/ 5382292 w 5402008"/>
                  <a:gd name="connsiteY316" fmla="*/ 1838420 h 5800534"/>
                  <a:gd name="connsiteX317" fmla="*/ 5362575 w 5402008"/>
                  <a:gd name="connsiteY317" fmla="*/ 1858137 h 5800534"/>
                  <a:gd name="connsiteX318" fmla="*/ 5362575 w 5402008"/>
                  <a:gd name="connsiteY318" fmla="*/ 2035207 h 5800534"/>
                  <a:gd name="connsiteX319" fmla="*/ 5382292 w 5402008"/>
                  <a:gd name="connsiteY319" fmla="*/ 2054924 h 5800534"/>
                  <a:gd name="connsiteX320" fmla="*/ 5402009 w 5402008"/>
                  <a:gd name="connsiteY320" fmla="*/ 2035207 h 5800534"/>
                  <a:gd name="connsiteX321" fmla="*/ 5402009 w 5402008"/>
                  <a:gd name="connsiteY321" fmla="*/ 1858137 h 5800534"/>
                  <a:gd name="connsiteX322" fmla="*/ 5382292 w 5402008"/>
                  <a:gd name="connsiteY322" fmla="*/ 1838420 h 5800534"/>
                  <a:gd name="connsiteX323" fmla="*/ 5382292 w 5402008"/>
                  <a:gd name="connsiteY323" fmla="*/ 1484186 h 5800534"/>
                  <a:gd name="connsiteX324" fmla="*/ 5362575 w 5402008"/>
                  <a:gd name="connsiteY324" fmla="*/ 1503902 h 5800534"/>
                  <a:gd name="connsiteX325" fmla="*/ 5362575 w 5402008"/>
                  <a:gd name="connsiteY325" fmla="*/ 1681067 h 5800534"/>
                  <a:gd name="connsiteX326" fmla="*/ 5382292 w 5402008"/>
                  <a:gd name="connsiteY326" fmla="*/ 1700784 h 5800534"/>
                  <a:gd name="connsiteX327" fmla="*/ 5402009 w 5402008"/>
                  <a:gd name="connsiteY327" fmla="*/ 1681067 h 5800534"/>
                  <a:gd name="connsiteX328" fmla="*/ 5402009 w 5402008"/>
                  <a:gd name="connsiteY328" fmla="*/ 1503902 h 5800534"/>
                  <a:gd name="connsiteX329" fmla="*/ 5382292 w 5402008"/>
                  <a:gd name="connsiteY329" fmla="*/ 1484186 h 5800534"/>
                  <a:gd name="connsiteX330" fmla="*/ 5382292 w 5402008"/>
                  <a:gd name="connsiteY330" fmla="*/ 3255359 h 5800534"/>
                  <a:gd name="connsiteX331" fmla="*/ 5362575 w 5402008"/>
                  <a:gd name="connsiteY331" fmla="*/ 3275076 h 5800534"/>
                  <a:gd name="connsiteX332" fmla="*/ 5362575 w 5402008"/>
                  <a:gd name="connsiteY332" fmla="*/ 3452241 h 5800534"/>
                  <a:gd name="connsiteX333" fmla="*/ 5382292 w 5402008"/>
                  <a:gd name="connsiteY333" fmla="*/ 3471958 h 5800534"/>
                  <a:gd name="connsiteX334" fmla="*/ 5402009 w 5402008"/>
                  <a:gd name="connsiteY334" fmla="*/ 3452241 h 5800534"/>
                  <a:gd name="connsiteX335" fmla="*/ 5402009 w 5402008"/>
                  <a:gd name="connsiteY335" fmla="*/ 3275076 h 5800534"/>
                  <a:gd name="connsiteX336" fmla="*/ 5382292 w 5402008"/>
                  <a:gd name="connsiteY336" fmla="*/ 3255359 h 5800534"/>
                  <a:gd name="connsiteX337" fmla="*/ 5288756 w 5402008"/>
                  <a:gd name="connsiteY337" fmla="*/ 302228 h 5800534"/>
                  <a:gd name="connsiteX338" fmla="*/ 5299520 w 5402008"/>
                  <a:gd name="connsiteY338" fmla="*/ 298990 h 5800534"/>
                  <a:gd name="connsiteX339" fmla="*/ 5305235 w 5402008"/>
                  <a:gd name="connsiteY339" fmla="*/ 271653 h 5800534"/>
                  <a:gd name="connsiteX340" fmla="*/ 5183505 w 5402008"/>
                  <a:gd name="connsiteY340" fmla="*/ 135827 h 5800534"/>
                  <a:gd name="connsiteX341" fmla="*/ 5155693 w 5402008"/>
                  <a:gd name="connsiteY341" fmla="*/ 138589 h 5800534"/>
                  <a:gd name="connsiteX342" fmla="*/ 5158455 w 5402008"/>
                  <a:gd name="connsiteY342" fmla="*/ 166402 h 5800534"/>
                  <a:gd name="connsiteX343" fmla="*/ 5272088 w 5402008"/>
                  <a:gd name="connsiteY343" fmla="*/ 293370 h 5800534"/>
                  <a:gd name="connsiteX344" fmla="*/ 5288756 w 5402008"/>
                  <a:gd name="connsiteY344" fmla="*/ 302228 h 5800534"/>
                  <a:gd name="connsiteX345" fmla="*/ 3627501 w 5402008"/>
                  <a:gd name="connsiteY345" fmla="*/ 19717 h 5800534"/>
                  <a:gd name="connsiteX346" fmla="*/ 3607784 w 5402008"/>
                  <a:gd name="connsiteY346" fmla="*/ 0 h 5800534"/>
                  <a:gd name="connsiteX347" fmla="*/ 3430715 w 5402008"/>
                  <a:gd name="connsiteY347" fmla="*/ 0 h 5800534"/>
                  <a:gd name="connsiteX348" fmla="*/ 3410998 w 5402008"/>
                  <a:gd name="connsiteY348" fmla="*/ 19717 h 5800534"/>
                  <a:gd name="connsiteX349" fmla="*/ 3430715 w 5402008"/>
                  <a:gd name="connsiteY349" fmla="*/ 39434 h 5800534"/>
                  <a:gd name="connsiteX350" fmla="*/ 3607784 w 5402008"/>
                  <a:gd name="connsiteY350" fmla="*/ 39434 h 5800534"/>
                  <a:gd name="connsiteX351" fmla="*/ 3627501 w 5402008"/>
                  <a:gd name="connsiteY351" fmla="*/ 19717 h 5800534"/>
                  <a:gd name="connsiteX352" fmla="*/ 3981736 w 5402008"/>
                  <a:gd name="connsiteY352" fmla="*/ 19717 h 5800534"/>
                  <a:gd name="connsiteX353" fmla="*/ 3962019 w 5402008"/>
                  <a:gd name="connsiteY353" fmla="*/ 0 h 5800534"/>
                  <a:gd name="connsiteX354" fmla="*/ 3784854 w 5402008"/>
                  <a:gd name="connsiteY354" fmla="*/ 0 h 5800534"/>
                  <a:gd name="connsiteX355" fmla="*/ 3765137 w 5402008"/>
                  <a:gd name="connsiteY355" fmla="*/ 19717 h 5800534"/>
                  <a:gd name="connsiteX356" fmla="*/ 3784854 w 5402008"/>
                  <a:gd name="connsiteY356" fmla="*/ 39434 h 5800534"/>
                  <a:gd name="connsiteX357" fmla="*/ 3962019 w 5402008"/>
                  <a:gd name="connsiteY357" fmla="*/ 39434 h 5800534"/>
                  <a:gd name="connsiteX358" fmla="*/ 3981736 w 5402008"/>
                  <a:gd name="connsiteY358" fmla="*/ 19717 h 5800534"/>
                  <a:gd name="connsiteX359" fmla="*/ 3741420 w 5402008"/>
                  <a:gd name="connsiteY359" fmla="*/ 5761101 h 5800534"/>
                  <a:gd name="connsiteX360" fmla="*/ 3564255 w 5402008"/>
                  <a:gd name="connsiteY360" fmla="*/ 5761101 h 5800534"/>
                  <a:gd name="connsiteX361" fmla="*/ 3544538 w 5402008"/>
                  <a:gd name="connsiteY361" fmla="*/ 5780818 h 5800534"/>
                  <a:gd name="connsiteX362" fmla="*/ 3564255 w 5402008"/>
                  <a:gd name="connsiteY362" fmla="*/ 5800535 h 5800534"/>
                  <a:gd name="connsiteX363" fmla="*/ 3741420 w 5402008"/>
                  <a:gd name="connsiteY363" fmla="*/ 5800535 h 5800534"/>
                  <a:gd name="connsiteX364" fmla="*/ 3761137 w 5402008"/>
                  <a:gd name="connsiteY364" fmla="*/ 5780818 h 5800534"/>
                  <a:gd name="connsiteX365" fmla="*/ 3741420 w 5402008"/>
                  <a:gd name="connsiteY365" fmla="*/ 5761101 h 5800534"/>
                  <a:gd name="connsiteX366" fmla="*/ 3032951 w 5402008"/>
                  <a:gd name="connsiteY366" fmla="*/ 5761101 h 5800534"/>
                  <a:gd name="connsiteX367" fmla="*/ 2855881 w 5402008"/>
                  <a:gd name="connsiteY367" fmla="*/ 5761101 h 5800534"/>
                  <a:gd name="connsiteX368" fmla="*/ 2836164 w 5402008"/>
                  <a:gd name="connsiteY368" fmla="*/ 5780818 h 5800534"/>
                  <a:gd name="connsiteX369" fmla="*/ 2855881 w 5402008"/>
                  <a:gd name="connsiteY369" fmla="*/ 5800535 h 5800534"/>
                  <a:gd name="connsiteX370" fmla="*/ 3032951 w 5402008"/>
                  <a:gd name="connsiteY370" fmla="*/ 5800535 h 5800534"/>
                  <a:gd name="connsiteX371" fmla="*/ 3052667 w 5402008"/>
                  <a:gd name="connsiteY371" fmla="*/ 5780818 h 5800534"/>
                  <a:gd name="connsiteX372" fmla="*/ 3032951 w 5402008"/>
                  <a:gd name="connsiteY372" fmla="*/ 5761101 h 5800534"/>
                  <a:gd name="connsiteX373" fmla="*/ 3387185 w 5402008"/>
                  <a:gd name="connsiteY373" fmla="*/ 5761101 h 5800534"/>
                  <a:gd name="connsiteX374" fmla="*/ 3210116 w 5402008"/>
                  <a:gd name="connsiteY374" fmla="*/ 5761101 h 5800534"/>
                  <a:gd name="connsiteX375" fmla="*/ 3190399 w 5402008"/>
                  <a:gd name="connsiteY375" fmla="*/ 5780818 h 5800534"/>
                  <a:gd name="connsiteX376" fmla="*/ 3210116 w 5402008"/>
                  <a:gd name="connsiteY376" fmla="*/ 5800535 h 5800534"/>
                  <a:gd name="connsiteX377" fmla="*/ 3387185 w 5402008"/>
                  <a:gd name="connsiteY377" fmla="*/ 5800535 h 5800534"/>
                  <a:gd name="connsiteX378" fmla="*/ 3406902 w 5402008"/>
                  <a:gd name="connsiteY378" fmla="*/ 5780818 h 5800534"/>
                  <a:gd name="connsiteX379" fmla="*/ 3387185 w 5402008"/>
                  <a:gd name="connsiteY379" fmla="*/ 5761101 h 5800534"/>
                  <a:gd name="connsiteX380" fmla="*/ 3273266 w 5402008"/>
                  <a:gd name="connsiteY380" fmla="*/ 19717 h 5800534"/>
                  <a:gd name="connsiteX381" fmla="*/ 3253549 w 5402008"/>
                  <a:gd name="connsiteY381" fmla="*/ 0 h 5800534"/>
                  <a:gd name="connsiteX382" fmla="*/ 3076480 w 5402008"/>
                  <a:gd name="connsiteY382" fmla="*/ 0 h 5800534"/>
                  <a:gd name="connsiteX383" fmla="*/ 3056763 w 5402008"/>
                  <a:gd name="connsiteY383" fmla="*/ 19717 h 5800534"/>
                  <a:gd name="connsiteX384" fmla="*/ 3076480 w 5402008"/>
                  <a:gd name="connsiteY384" fmla="*/ 39434 h 5800534"/>
                  <a:gd name="connsiteX385" fmla="*/ 3253549 w 5402008"/>
                  <a:gd name="connsiteY385" fmla="*/ 39434 h 5800534"/>
                  <a:gd name="connsiteX386" fmla="*/ 3273266 w 5402008"/>
                  <a:gd name="connsiteY386" fmla="*/ 19717 h 5800534"/>
                  <a:gd name="connsiteX387" fmla="*/ 4095655 w 5402008"/>
                  <a:gd name="connsiteY387" fmla="*/ 5761101 h 5800534"/>
                  <a:gd name="connsiteX388" fmla="*/ 3918490 w 5402008"/>
                  <a:gd name="connsiteY388" fmla="*/ 5761101 h 5800534"/>
                  <a:gd name="connsiteX389" fmla="*/ 3898773 w 5402008"/>
                  <a:gd name="connsiteY389" fmla="*/ 5780818 h 5800534"/>
                  <a:gd name="connsiteX390" fmla="*/ 3918490 w 5402008"/>
                  <a:gd name="connsiteY390" fmla="*/ 5800535 h 5800534"/>
                  <a:gd name="connsiteX391" fmla="*/ 4095655 w 5402008"/>
                  <a:gd name="connsiteY391" fmla="*/ 5800535 h 5800534"/>
                  <a:gd name="connsiteX392" fmla="*/ 4115372 w 5402008"/>
                  <a:gd name="connsiteY392" fmla="*/ 5780818 h 5800534"/>
                  <a:gd name="connsiteX393" fmla="*/ 4095655 w 5402008"/>
                  <a:gd name="connsiteY393" fmla="*/ 5761101 h 5800534"/>
                  <a:gd name="connsiteX394" fmla="*/ 5019389 w 5402008"/>
                  <a:gd name="connsiteY394" fmla="*/ 80867 h 5800534"/>
                  <a:gd name="connsiteX395" fmla="*/ 5037773 w 5402008"/>
                  <a:gd name="connsiteY395" fmla="*/ 68485 h 5800534"/>
                  <a:gd name="connsiteX396" fmla="*/ 5026819 w 5402008"/>
                  <a:gd name="connsiteY396" fmla="*/ 42767 h 5800534"/>
                  <a:gd name="connsiteX397" fmla="*/ 4849082 w 5402008"/>
                  <a:gd name="connsiteY397" fmla="*/ 1619 h 5800534"/>
                  <a:gd name="connsiteX398" fmla="*/ 4827937 w 5402008"/>
                  <a:gd name="connsiteY398" fmla="*/ 19907 h 5800534"/>
                  <a:gd name="connsiteX399" fmla="*/ 4846225 w 5402008"/>
                  <a:gd name="connsiteY399" fmla="*/ 41053 h 5800534"/>
                  <a:gd name="connsiteX400" fmla="*/ 5012151 w 5402008"/>
                  <a:gd name="connsiteY400" fmla="*/ 79439 h 5800534"/>
                  <a:gd name="connsiteX401" fmla="*/ 5019389 w 5402008"/>
                  <a:gd name="connsiteY401" fmla="*/ 80867 h 5800534"/>
                  <a:gd name="connsiteX402" fmla="*/ 4806410 w 5402008"/>
                  <a:gd name="connsiteY402" fmla="*/ 5761101 h 5800534"/>
                  <a:gd name="connsiteX403" fmla="*/ 4627055 w 5402008"/>
                  <a:gd name="connsiteY403" fmla="*/ 5761101 h 5800534"/>
                  <a:gd name="connsiteX404" fmla="*/ 4607338 w 5402008"/>
                  <a:gd name="connsiteY404" fmla="*/ 5780818 h 5800534"/>
                  <a:gd name="connsiteX405" fmla="*/ 4627055 w 5402008"/>
                  <a:gd name="connsiteY405" fmla="*/ 5800535 h 5800534"/>
                  <a:gd name="connsiteX406" fmla="*/ 4804410 w 5402008"/>
                  <a:gd name="connsiteY406" fmla="*/ 5800535 h 5800534"/>
                  <a:gd name="connsiteX407" fmla="*/ 4806315 w 5402008"/>
                  <a:gd name="connsiteY407" fmla="*/ 5800535 h 5800534"/>
                  <a:gd name="connsiteX408" fmla="*/ 4826032 w 5402008"/>
                  <a:gd name="connsiteY408" fmla="*/ 5780818 h 5800534"/>
                  <a:gd name="connsiteX409" fmla="*/ 4806410 w 5402008"/>
                  <a:gd name="connsiteY409" fmla="*/ 5761101 h 5800534"/>
                  <a:gd name="connsiteX410" fmla="*/ 4335971 w 5402008"/>
                  <a:gd name="connsiteY410" fmla="*/ 19717 h 5800534"/>
                  <a:gd name="connsiteX411" fmla="*/ 4316254 w 5402008"/>
                  <a:gd name="connsiteY411" fmla="*/ 0 h 5800534"/>
                  <a:gd name="connsiteX412" fmla="*/ 4139184 w 5402008"/>
                  <a:gd name="connsiteY412" fmla="*/ 0 h 5800534"/>
                  <a:gd name="connsiteX413" fmla="*/ 4119467 w 5402008"/>
                  <a:gd name="connsiteY413" fmla="*/ 19717 h 5800534"/>
                  <a:gd name="connsiteX414" fmla="*/ 4139184 w 5402008"/>
                  <a:gd name="connsiteY414" fmla="*/ 39434 h 5800534"/>
                  <a:gd name="connsiteX415" fmla="*/ 4316254 w 5402008"/>
                  <a:gd name="connsiteY415" fmla="*/ 39434 h 5800534"/>
                  <a:gd name="connsiteX416" fmla="*/ 4335971 w 5402008"/>
                  <a:gd name="connsiteY416" fmla="*/ 19717 h 5800534"/>
                  <a:gd name="connsiteX417" fmla="*/ 5126927 w 5402008"/>
                  <a:gd name="connsiteY417" fmla="*/ 5658422 h 5800534"/>
                  <a:gd name="connsiteX418" fmla="*/ 4974622 w 5402008"/>
                  <a:gd name="connsiteY418" fmla="*/ 5734622 h 5800534"/>
                  <a:gd name="connsiteX419" fmla="*/ 4961858 w 5402008"/>
                  <a:gd name="connsiteY419" fmla="*/ 5759482 h 5800534"/>
                  <a:gd name="connsiteX420" fmla="*/ 4980718 w 5402008"/>
                  <a:gd name="connsiteY420" fmla="*/ 5773198 h 5800534"/>
                  <a:gd name="connsiteX421" fmla="*/ 4986719 w 5402008"/>
                  <a:gd name="connsiteY421" fmla="*/ 5772245 h 5800534"/>
                  <a:gd name="connsiteX422" fmla="*/ 5149882 w 5402008"/>
                  <a:gd name="connsiteY422" fmla="*/ 5690616 h 5800534"/>
                  <a:gd name="connsiteX423" fmla="*/ 5154549 w 5402008"/>
                  <a:gd name="connsiteY423" fmla="*/ 5663089 h 5800534"/>
                  <a:gd name="connsiteX424" fmla="*/ 5126927 w 5402008"/>
                  <a:gd name="connsiteY424" fmla="*/ 5658422 h 5800534"/>
                  <a:gd name="connsiteX425" fmla="*/ 4690206 w 5402008"/>
                  <a:gd name="connsiteY425" fmla="*/ 19717 h 5800534"/>
                  <a:gd name="connsiteX426" fmla="*/ 4670489 w 5402008"/>
                  <a:gd name="connsiteY426" fmla="*/ 0 h 5800534"/>
                  <a:gd name="connsiteX427" fmla="*/ 4493419 w 5402008"/>
                  <a:gd name="connsiteY427" fmla="*/ 0 h 5800534"/>
                  <a:gd name="connsiteX428" fmla="*/ 4473702 w 5402008"/>
                  <a:gd name="connsiteY428" fmla="*/ 19717 h 5800534"/>
                  <a:gd name="connsiteX429" fmla="*/ 4493419 w 5402008"/>
                  <a:gd name="connsiteY429" fmla="*/ 39434 h 5800534"/>
                  <a:gd name="connsiteX430" fmla="*/ 4670489 w 5402008"/>
                  <a:gd name="connsiteY430" fmla="*/ 39434 h 5800534"/>
                  <a:gd name="connsiteX431" fmla="*/ 4690206 w 5402008"/>
                  <a:gd name="connsiteY431" fmla="*/ 19717 h 5800534"/>
                  <a:gd name="connsiteX432" fmla="*/ 4449890 w 5402008"/>
                  <a:gd name="connsiteY432" fmla="*/ 5761101 h 5800534"/>
                  <a:gd name="connsiteX433" fmla="*/ 4272820 w 5402008"/>
                  <a:gd name="connsiteY433" fmla="*/ 5761101 h 5800534"/>
                  <a:gd name="connsiteX434" fmla="*/ 4253103 w 5402008"/>
                  <a:gd name="connsiteY434" fmla="*/ 5780818 h 5800534"/>
                  <a:gd name="connsiteX435" fmla="*/ 4272820 w 5402008"/>
                  <a:gd name="connsiteY435" fmla="*/ 5800535 h 5800534"/>
                  <a:gd name="connsiteX436" fmla="*/ 4449890 w 5402008"/>
                  <a:gd name="connsiteY436" fmla="*/ 5800535 h 5800534"/>
                  <a:gd name="connsiteX437" fmla="*/ 4469606 w 5402008"/>
                  <a:gd name="connsiteY437" fmla="*/ 5780818 h 5800534"/>
                  <a:gd name="connsiteX438" fmla="*/ 4449890 w 5402008"/>
                  <a:gd name="connsiteY438" fmla="*/ 5761101 h 58005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</a:cxnLst>
                <a:rect l="l" t="t" r="r" b="b"/>
                <a:pathLst>
                  <a:path w="5402008" h="5800534">
                    <a:moveTo>
                      <a:pt x="1147858" y="19717"/>
                    </a:moveTo>
                    <a:cubicBezTo>
                      <a:pt x="1147858" y="8763"/>
                      <a:pt x="1139000" y="0"/>
                      <a:pt x="1128141" y="0"/>
                    </a:cubicBezTo>
                    <a:lnTo>
                      <a:pt x="950976" y="0"/>
                    </a:lnTo>
                    <a:cubicBezTo>
                      <a:pt x="940022" y="0"/>
                      <a:pt x="931259" y="8858"/>
                      <a:pt x="931259" y="19717"/>
                    </a:cubicBezTo>
                    <a:cubicBezTo>
                      <a:pt x="931259" y="30670"/>
                      <a:pt x="940118" y="39434"/>
                      <a:pt x="950976" y="39434"/>
                    </a:cubicBezTo>
                    <a:lnTo>
                      <a:pt x="1128141" y="39434"/>
                    </a:lnTo>
                    <a:cubicBezTo>
                      <a:pt x="1139000" y="39434"/>
                      <a:pt x="1147858" y="30670"/>
                      <a:pt x="1147858" y="19717"/>
                    </a:cubicBezTo>
                    <a:close/>
                    <a:moveTo>
                      <a:pt x="1261872" y="5761101"/>
                    </a:moveTo>
                    <a:lnTo>
                      <a:pt x="1084707" y="5761101"/>
                    </a:lnTo>
                    <a:cubicBezTo>
                      <a:pt x="1073753" y="5761101"/>
                      <a:pt x="1064990" y="5769959"/>
                      <a:pt x="1064990" y="5780818"/>
                    </a:cubicBezTo>
                    <a:cubicBezTo>
                      <a:pt x="1064990" y="5791772"/>
                      <a:pt x="1073849" y="5800535"/>
                      <a:pt x="1084707" y="5800535"/>
                    </a:cubicBezTo>
                    <a:lnTo>
                      <a:pt x="1261872" y="5800535"/>
                    </a:lnTo>
                    <a:cubicBezTo>
                      <a:pt x="1272826" y="5800535"/>
                      <a:pt x="1281589" y="5791677"/>
                      <a:pt x="1281589" y="5780818"/>
                    </a:cubicBezTo>
                    <a:cubicBezTo>
                      <a:pt x="1281589" y="5769959"/>
                      <a:pt x="1272731" y="5761101"/>
                      <a:pt x="1261872" y="5761101"/>
                    </a:cubicBezTo>
                    <a:close/>
                    <a:moveTo>
                      <a:pt x="907637" y="5761101"/>
                    </a:moveTo>
                    <a:lnTo>
                      <a:pt x="730472" y="5761101"/>
                    </a:lnTo>
                    <a:cubicBezTo>
                      <a:pt x="719519" y="5761101"/>
                      <a:pt x="710756" y="5769959"/>
                      <a:pt x="710756" y="5780818"/>
                    </a:cubicBezTo>
                    <a:cubicBezTo>
                      <a:pt x="710756" y="5791772"/>
                      <a:pt x="719614" y="5800535"/>
                      <a:pt x="730472" y="5800535"/>
                    </a:cubicBezTo>
                    <a:lnTo>
                      <a:pt x="907637" y="5800535"/>
                    </a:lnTo>
                    <a:cubicBezTo>
                      <a:pt x="918591" y="5800535"/>
                      <a:pt x="927354" y="5791677"/>
                      <a:pt x="927354" y="5780818"/>
                    </a:cubicBezTo>
                    <a:cubicBezTo>
                      <a:pt x="927354" y="5769959"/>
                      <a:pt x="918496" y="5761101"/>
                      <a:pt x="907637" y="5761101"/>
                    </a:cubicBezTo>
                    <a:close/>
                    <a:moveTo>
                      <a:pt x="441293" y="40767"/>
                    </a:moveTo>
                    <a:cubicBezTo>
                      <a:pt x="437960" y="30385"/>
                      <a:pt x="426911" y="24575"/>
                      <a:pt x="416433" y="27908"/>
                    </a:cubicBezTo>
                    <a:cubicBezTo>
                      <a:pt x="358140" y="46482"/>
                      <a:pt x="303181" y="73819"/>
                      <a:pt x="253079" y="109157"/>
                    </a:cubicBezTo>
                    <a:cubicBezTo>
                      <a:pt x="244126" y="115443"/>
                      <a:pt x="242030" y="127826"/>
                      <a:pt x="248317" y="136684"/>
                    </a:cubicBezTo>
                    <a:cubicBezTo>
                      <a:pt x="252127" y="142113"/>
                      <a:pt x="258318" y="145066"/>
                      <a:pt x="264509" y="145066"/>
                    </a:cubicBezTo>
                    <a:cubicBezTo>
                      <a:pt x="268415" y="145066"/>
                      <a:pt x="272415" y="143923"/>
                      <a:pt x="275939" y="141446"/>
                    </a:cubicBezTo>
                    <a:cubicBezTo>
                      <a:pt x="322707" y="108395"/>
                      <a:pt x="374047" y="82868"/>
                      <a:pt x="428435" y="65532"/>
                    </a:cubicBezTo>
                    <a:cubicBezTo>
                      <a:pt x="438912" y="62294"/>
                      <a:pt x="444627" y="51149"/>
                      <a:pt x="441293" y="40767"/>
                    </a:cubicBezTo>
                    <a:close/>
                    <a:moveTo>
                      <a:pt x="2678716" y="5761101"/>
                    </a:moveTo>
                    <a:lnTo>
                      <a:pt x="2501551" y="5761101"/>
                    </a:lnTo>
                    <a:cubicBezTo>
                      <a:pt x="2490597" y="5761101"/>
                      <a:pt x="2481834" y="5769959"/>
                      <a:pt x="2481834" y="5780818"/>
                    </a:cubicBezTo>
                    <a:cubicBezTo>
                      <a:pt x="2481834" y="5791772"/>
                      <a:pt x="2490692" y="5800535"/>
                      <a:pt x="2501551" y="5800535"/>
                    </a:cubicBezTo>
                    <a:lnTo>
                      <a:pt x="2678716" y="5800535"/>
                    </a:lnTo>
                    <a:cubicBezTo>
                      <a:pt x="2689670" y="5800535"/>
                      <a:pt x="2698433" y="5791677"/>
                      <a:pt x="2698433" y="5780818"/>
                    </a:cubicBezTo>
                    <a:cubicBezTo>
                      <a:pt x="2698528" y="5769959"/>
                      <a:pt x="2689670" y="5761101"/>
                      <a:pt x="2678716" y="5761101"/>
                    </a:cubicBezTo>
                    <a:close/>
                    <a:moveTo>
                      <a:pt x="793623" y="19717"/>
                    </a:moveTo>
                    <a:cubicBezTo>
                      <a:pt x="793623" y="8763"/>
                      <a:pt x="784765" y="0"/>
                      <a:pt x="773906" y="0"/>
                    </a:cubicBezTo>
                    <a:lnTo>
                      <a:pt x="596741" y="0"/>
                    </a:lnTo>
                    <a:cubicBezTo>
                      <a:pt x="585788" y="0"/>
                      <a:pt x="577025" y="8858"/>
                      <a:pt x="577025" y="19717"/>
                    </a:cubicBezTo>
                    <a:cubicBezTo>
                      <a:pt x="577025" y="30670"/>
                      <a:pt x="585883" y="39434"/>
                      <a:pt x="596741" y="39434"/>
                    </a:cubicBezTo>
                    <a:lnTo>
                      <a:pt x="773906" y="39434"/>
                    </a:lnTo>
                    <a:cubicBezTo>
                      <a:pt x="784765" y="39434"/>
                      <a:pt x="793623" y="30670"/>
                      <a:pt x="793623" y="19717"/>
                    </a:cubicBezTo>
                    <a:close/>
                    <a:moveTo>
                      <a:pt x="1502093" y="19717"/>
                    </a:moveTo>
                    <a:cubicBezTo>
                      <a:pt x="1502093" y="8763"/>
                      <a:pt x="1493234" y="0"/>
                      <a:pt x="1482376" y="0"/>
                    </a:cubicBezTo>
                    <a:lnTo>
                      <a:pt x="1305306" y="0"/>
                    </a:lnTo>
                    <a:cubicBezTo>
                      <a:pt x="1294352" y="0"/>
                      <a:pt x="1285589" y="8858"/>
                      <a:pt x="1285589" y="19717"/>
                    </a:cubicBezTo>
                    <a:cubicBezTo>
                      <a:pt x="1285589" y="30670"/>
                      <a:pt x="1294448" y="39434"/>
                      <a:pt x="1305306" y="39434"/>
                    </a:cubicBezTo>
                    <a:lnTo>
                      <a:pt x="1482376" y="39434"/>
                    </a:lnTo>
                    <a:cubicBezTo>
                      <a:pt x="1493234" y="39434"/>
                      <a:pt x="1502093" y="30670"/>
                      <a:pt x="1502093" y="19717"/>
                    </a:cubicBezTo>
                    <a:close/>
                    <a:moveTo>
                      <a:pt x="2324481" y="5761101"/>
                    </a:moveTo>
                    <a:lnTo>
                      <a:pt x="2147316" y="5761101"/>
                    </a:lnTo>
                    <a:cubicBezTo>
                      <a:pt x="2136362" y="5761101"/>
                      <a:pt x="2127599" y="5769959"/>
                      <a:pt x="2127599" y="5780818"/>
                    </a:cubicBezTo>
                    <a:cubicBezTo>
                      <a:pt x="2127599" y="5791772"/>
                      <a:pt x="2136458" y="5800535"/>
                      <a:pt x="2147316" y="5800535"/>
                    </a:cubicBezTo>
                    <a:lnTo>
                      <a:pt x="2324481" y="5800535"/>
                    </a:lnTo>
                    <a:cubicBezTo>
                      <a:pt x="2335435" y="5800535"/>
                      <a:pt x="2344198" y="5791677"/>
                      <a:pt x="2344198" y="5780818"/>
                    </a:cubicBezTo>
                    <a:cubicBezTo>
                      <a:pt x="2344293" y="5769959"/>
                      <a:pt x="2335435" y="5761101"/>
                      <a:pt x="2324481" y="5761101"/>
                    </a:cubicBezTo>
                    <a:close/>
                    <a:moveTo>
                      <a:pt x="2564797" y="19717"/>
                    </a:moveTo>
                    <a:cubicBezTo>
                      <a:pt x="2564797" y="8763"/>
                      <a:pt x="2555939" y="0"/>
                      <a:pt x="2545080" y="0"/>
                    </a:cubicBezTo>
                    <a:lnTo>
                      <a:pt x="2367915" y="0"/>
                    </a:lnTo>
                    <a:cubicBezTo>
                      <a:pt x="2356961" y="0"/>
                      <a:pt x="2348198" y="8858"/>
                      <a:pt x="2348198" y="19717"/>
                    </a:cubicBezTo>
                    <a:cubicBezTo>
                      <a:pt x="2348198" y="30670"/>
                      <a:pt x="2357057" y="39434"/>
                      <a:pt x="2367915" y="39434"/>
                    </a:cubicBezTo>
                    <a:lnTo>
                      <a:pt x="2545080" y="39434"/>
                    </a:lnTo>
                    <a:cubicBezTo>
                      <a:pt x="2555939" y="39434"/>
                      <a:pt x="2564797" y="30670"/>
                      <a:pt x="2564797" y="19717"/>
                    </a:cubicBezTo>
                    <a:close/>
                    <a:moveTo>
                      <a:pt x="129254" y="5506403"/>
                    </a:moveTo>
                    <a:cubicBezTo>
                      <a:pt x="123349" y="5497259"/>
                      <a:pt x="111062" y="5494687"/>
                      <a:pt x="101918" y="5500592"/>
                    </a:cubicBezTo>
                    <a:cubicBezTo>
                      <a:pt x="92774" y="5506498"/>
                      <a:pt x="90202" y="5518785"/>
                      <a:pt x="96107" y="5527930"/>
                    </a:cubicBezTo>
                    <a:cubicBezTo>
                      <a:pt x="129445" y="5579269"/>
                      <a:pt x="170307" y="5624989"/>
                      <a:pt x="217551" y="5664042"/>
                    </a:cubicBezTo>
                    <a:cubicBezTo>
                      <a:pt x="221266" y="5667090"/>
                      <a:pt x="225647" y="5668613"/>
                      <a:pt x="230124" y="5668613"/>
                    </a:cubicBezTo>
                    <a:cubicBezTo>
                      <a:pt x="235839" y="5668613"/>
                      <a:pt x="241459" y="5666137"/>
                      <a:pt x="245364" y="5661470"/>
                    </a:cubicBezTo>
                    <a:cubicBezTo>
                      <a:pt x="252317" y="5653088"/>
                      <a:pt x="251079" y="5640610"/>
                      <a:pt x="242697" y="5633657"/>
                    </a:cubicBezTo>
                    <a:cubicBezTo>
                      <a:pt x="198501" y="5597176"/>
                      <a:pt x="160401" y="5554409"/>
                      <a:pt x="129254" y="5506403"/>
                    </a:cubicBezTo>
                    <a:close/>
                    <a:moveTo>
                      <a:pt x="2210562" y="19717"/>
                    </a:moveTo>
                    <a:cubicBezTo>
                      <a:pt x="2210562" y="8763"/>
                      <a:pt x="2201704" y="0"/>
                      <a:pt x="2190845" y="0"/>
                    </a:cubicBezTo>
                    <a:lnTo>
                      <a:pt x="2013776" y="0"/>
                    </a:lnTo>
                    <a:cubicBezTo>
                      <a:pt x="2002822" y="0"/>
                      <a:pt x="1994059" y="8858"/>
                      <a:pt x="1994059" y="19717"/>
                    </a:cubicBezTo>
                    <a:cubicBezTo>
                      <a:pt x="1994059" y="30670"/>
                      <a:pt x="2002917" y="39434"/>
                      <a:pt x="2013776" y="39434"/>
                    </a:cubicBezTo>
                    <a:lnTo>
                      <a:pt x="2190845" y="39434"/>
                    </a:lnTo>
                    <a:cubicBezTo>
                      <a:pt x="2201704" y="39434"/>
                      <a:pt x="2210562" y="30670"/>
                      <a:pt x="2210562" y="19717"/>
                    </a:cubicBezTo>
                    <a:close/>
                    <a:moveTo>
                      <a:pt x="1970246" y="5761101"/>
                    </a:moveTo>
                    <a:lnTo>
                      <a:pt x="1793177" y="5761101"/>
                    </a:lnTo>
                    <a:cubicBezTo>
                      <a:pt x="1782223" y="5761101"/>
                      <a:pt x="1773460" y="5769959"/>
                      <a:pt x="1773460" y="5780818"/>
                    </a:cubicBezTo>
                    <a:cubicBezTo>
                      <a:pt x="1773460" y="5791772"/>
                      <a:pt x="1782318" y="5800535"/>
                      <a:pt x="1793177" y="5800535"/>
                    </a:cubicBezTo>
                    <a:lnTo>
                      <a:pt x="1970246" y="5800535"/>
                    </a:lnTo>
                    <a:cubicBezTo>
                      <a:pt x="1981200" y="5800535"/>
                      <a:pt x="1989963" y="5791677"/>
                      <a:pt x="1989963" y="5780818"/>
                    </a:cubicBezTo>
                    <a:cubicBezTo>
                      <a:pt x="1990058" y="5769959"/>
                      <a:pt x="1981200" y="5761101"/>
                      <a:pt x="1970246" y="5761101"/>
                    </a:cubicBezTo>
                    <a:close/>
                    <a:moveTo>
                      <a:pt x="1616012" y="5761101"/>
                    </a:moveTo>
                    <a:lnTo>
                      <a:pt x="1438942" y="5761101"/>
                    </a:lnTo>
                    <a:cubicBezTo>
                      <a:pt x="1427988" y="5761101"/>
                      <a:pt x="1419225" y="5769959"/>
                      <a:pt x="1419225" y="5780818"/>
                    </a:cubicBezTo>
                    <a:cubicBezTo>
                      <a:pt x="1419225" y="5791772"/>
                      <a:pt x="1428083" y="5800535"/>
                      <a:pt x="1438942" y="5800535"/>
                    </a:cubicBezTo>
                    <a:lnTo>
                      <a:pt x="1616012" y="5800535"/>
                    </a:lnTo>
                    <a:cubicBezTo>
                      <a:pt x="1626965" y="5800535"/>
                      <a:pt x="1635728" y="5791677"/>
                      <a:pt x="1635728" y="5780818"/>
                    </a:cubicBezTo>
                    <a:cubicBezTo>
                      <a:pt x="1635824" y="5769959"/>
                      <a:pt x="1626965" y="5761101"/>
                      <a:pt x="1616012" y="5761101"/>
                    </a:cubicBezTo>
                    <a:close/>
                    <a:moveTo>
                      <a:pt x="1856327" y="19717"/>
                    </a:moveTo>
                    <a:cubicBezTo>
                      <a:pt x="1856327" y="8763"/>
                      <a:pt x="1847469" y="0"/>
                      <a:pt x="1836611" y="0"/>
                    </a:cubicBezTo>
                    <a:lnTo>
                      <a:pt x="1659541" y="0"/>
                    </a:lnTo>
                    <a:cubicBezTo>
                      <a:pt x="1648587" y="0"/>
                      <a:pt x="1639824" y="8858"/>
                      <a:pt x="1639824" y="19717"/>
                    </a:cubicBezTo>
                    <a:cubicBezTo>
                      <a:pt x="1639824" y="30670"/>
                      <a:pt x="1648682" y="39434"/>
                      <a:pt x="1659541" y="39434"/>
                    </a:cubicBezTo>
                    <a:lnTo>
                      <a:pt x="1836611" y="39434"/>
                    </a:lnTo>
                    <a:cubicBezTo>
                      <a:pt x="1847469" y="39434"/>
                      <a:pt x="1856327" y="30670"/>
                      <a:pt x="1856327" y="19717"/>
                    </a:cubicBezTo>
                    <a:close/>
                    <a:moveTo>
                      <a:pt x="554927" y="5759482"/>
                    </a:moveTo>
                    <a:cubicBezTo>
                      <a:pt x="497776" y="5755101"/>
                      <a:pt x="441960" y="5742147"/>
                      <a:pt x="389096" y="5720715"/>
                    </a:cubicBezTo>
                    <a:cubicBezTo>
                      <a:pt x="379000" y="5716620"/>
                      <a:pt x="367475" y="5721572"/>
                      <a:pt x="363379" y="5731669"/>
                    </a:cubicBezTo>
                    <a:cubicBezTo>
                      <a:pt x="359283" y="5741765"/>
                      <a:pt x="364141" y="5753291"/>
                      <a:pt x="374333" y="5757386"/>
                    </a:cubicBezTo>
                    <a:cubicBezTo>
                      <a:pt x="431006" y="5780247"/>
                      <a:pt x="490728" y="5794248"/>
                      <a:pt x="551974" y="5798915"/>
                    </a:cubicBezTo>
                    <a:cubicBezTo>
                      <a:pt x="552450" y="5798915"/>
                      <a:pt x="553022" y="5799011"/>
                      <a:pt x="553498" y="5799011"/>
                    </a:cubicBezTo>
                    <a:cubicBezTo>
                      <a:pt x="563690" y="5799011"/>
                      <a:pt x="572357" y="5791105"/>
                      <a:pt x="573215" y="5780723"/>
                    </a:cubicBezTo>
                    <a:cubicBezTo>
                      <a:pt x="573977" y="5769769"/>
                      <a:pt x="565785" y="5760339"/>
                      <a:pt x="554927" y="5759482"/>
                    </a:cubicBezTo>
                    <a:close/>
                    <a:moveTo>
                      <a:pt x="19717" y="2189893"/>
                    </a:moveTo>
                    <a:cubicBezTo>
                      <a:pt x="30671" y="2189893"/>
                      <a:pt x="39434" y="2181035"/>
                      <a:pt x="39434" y="2170176"/>
                    </a:cubicBezTo>
                    <a:lnTo>
                      <a:pt x="39434" y="1993011"/>
                    </a:lnTo>
                    <a:cubicBezTo>
                      <a:pt x="39434" y="1982057"/>
                      <a:pt x="30575" y="1973294"/>
                      <a:pt x="19717" y="1973294"/>
                    </a:cubicBezTo>
                    <a:cubicBezTo>
                      <a:pt x="8763" y="1973294"/>
                      <a:pt x="0" y="1982153"/>
                      <a:pt x="0" y="1993011"/>
                    </a:cubicBezTo>
                    <a:lnTo>
                      <a:pt x="0" y="2170176"/>
                    </a:lnTo>
                    <a:cubicBezTo>
                      <a:pt x="0" y="2181035"/>
                      <a:pt x="8858" y="2189893"/>
                      <a:pt x="19717" y="2189893"/>
                    </a:cubicBezTo>
                    <a:close/>
                    <a:moveTo>
                      <a:pt x="19717" y="2544127"/>
                    </a:moveTo>
                    <a:cubicBezTo>
                      <a:pt x="30671" y="2544127"/>
                      <a:pt x="39434" y="2535269"/>
                      <a:pt x="39434" y="2524411"/>
                    </a:cubicBezTo>
                    <a:lnTo>
                      <a:pt x="39434" y="2347341"/>
                    </a:lnTo>
                    <a:cubicBezTo>
                      <a:pt x="39434" y="2336387"/>
                      <a:pt x="30575" y="2327624"/>
                      <a:pt x="19717" y="2327624"/>
                    </a:cubicBezTo>
                    <a:cubicBezTo>
                      <a:pt x="8763" y="2327624"/>
                      <a:pt x="0" y="2336483"/>
                      <a:pt x="0" y="2347341"/>
                    </a:cubicBezTo>
                    <a:lnTo>
                      <a:pt x="0" y="2524411"/>
                    </a:lnTo>
                    <a:cubicBezTo>
                      <a:pt x="0" y="2535269"/>
                      <a:pt x="8858" y="2544127"/>
                      <a:pt x="19717" y="2544127"/>
                    </a:cubicBezTo>
                    <a:close/>
                    <a:moveTo>
                      <a:pt x="19717" y="1835658"/>
                    </a:moveTo>
                    <a:cubicBezTo>
                      <a:pt x="30671" y="1835658"/>
                      <a:pt x="39434" y="1826800"/>
                      <a:pt x="39434" y="1815941"/>
                    </a:cubicBezTo>
                    <a:lnTo>
                      <a:pt x="39434" y="1638776"/>
                    </a:lnTo>
                    <a:cubicBezTo>
                      <a:pt x="39434" y="1627823"/>
                      <a:pt x="30575" y="1619060"/>
                      <a:pt x="19717" y="1619060"/>
                    </a:cubicBezTo>
                    <a:cubicBezTo>
                      <a:pt x="8763" y="1619060"/>
                      <a:pt x="0" y="1627918"/>
                      <a:pt x="0" y="1638776"/>
                    </a:cubicBezTo>
                    <a:lnTo>
                      <a:pt x="0" y="1815941"/>
                    </a:lnTo>
                    <a:cubicBezTo>
                      <a:pt x="0" y="1826800"/>
                      <a:pt x="8858" y="1835658"/>
                      <a:pt x="19717" y="1835658"/>
                    </a:cubicBezTo>
                    <a:close/>
                    <a:moveTo>
                      <a:pt x="19717" y="772954"/>
                    </a:moveTo>
                    <a:cubicBezTo>
                      <a:pt x="30671" y="772954"/>
                      <a:pt x="39434" y="764096"/>
                      <a:pt x="39434" y="753237"/>
                    </a:cubicBezTo>
                    <a:lnTo>
                      <a:pt x="39434" y="597789"/>
                    </a:lnTo>
                    <a:cubicBezTo>
                      <a:pt x="39434" y="590741"/>
                      <a:pt x="39529" y="583787"/>
                      <a:pt x="39815" y="576739"/>
                    </a:cubicBezTo>
                    <a:cubicBezTo>
                      <a:pt x="40195" y="565880"/>
                      <a:pt x="31718" y="556641"/>
                      <a:pt x="20765" y="556260"/>
                    </a:cubicBezTo>
                    <a:cubicBezTo>
                      <a:pt x="10001" y="555879"/>
                      <a:pt x="667" y="564356"/>
                      <a:pt x="286" y="575310"/>
                    </a:cubicBezTo>
                    <a:cubicBezTo>
                      <a:pt x="95" y="582835"/>
                      <a:pt x="0" y="590264"/>
                      <a:pt x="0" y="597789"/>
                    </a:cubicBezTo>
                    <a:lnTo>
                      <a:pt x="0" y="753142"/>
                    </a:lnTo>
                    <a:cubicBezTo>
                      <a:pt x="0" y="764096"/>
                      <a:pt x="8858" y="772954"/>
                      <a:pt x="19717" y="772954"/>
                    </a:cubicBezTo>
                    <a:close/>
                    <a:moveTo>
                      <a:pt x="19717" y="1481423"/>
                    </a:moveTo>
                    <a:cubicBezTo>
                      <a:pt x="30671" y="1481423"/>
                      <a:pt x="39434" y="1472565"/>
                      <a:pt x="39434" y="1461707"/>
                    </a:cubicBezTo>
                    <a:lnTo>
                      <a:pt x="39434" y="1284637"/>
                    </a:lnTo>
                    <a:cubicBezTo>
                      <a:pt x="39434" y="1273683"/>
                      <a:pt x="30575" y="1264920"/>
                      <a:pt x="19717" y="1264920"/>
                    </a:cubicBezTo>
                    <a:cubicBezTo>
                      <a:pt x="8763" y="1264920"/>
                      <a:pt x="0" y="1273778"/>
                      <a:pt x="0" y="1284637"/>
                    </a:cubicBezTo>
                    <a:lnTo>
                      <a:pt x="0" y="1461707"/>
                    </a:lnTo>
                    <a:cubicBezTo>
                      <a:pt x="0" y="1472565"/>
                      <a:pt x="8858" y="1481423"/>
                      <a:pt x="19717" y="1481423"/>
                    </a:cubicBezTo>
                    <a:close/>
                    <a:moveTo>
                      <a:pt x="19717" y="2898362"/>
                    </a:moveTo>
                    <a:cubicBezTo>
                      <a:pt x="30671" y="2898362"/>
                      <a:pt x="39434" y="2889504"/>
                      <a:pt x="39434" y="2878646"/>
                    </a:cubicBezTo>
                    <a:lnTo>
                      <a:pt x="39434" y="2701481"/>
                    </a:lnTo>
                    <a:cubicBezTo>
                      <a:pt x="39434" y="2690527"/>
                      <a:pt x="30575" y="2681764"/>
                      <a:pt x="19717" y="2681764"/>
                    </a:cubicBezTo>
                    <a:cubicBezTo>
                      <a:pt x="8763" y="2681764"/>
                      <a:pt x="0" y="2690622"/>
                      <a:pt x="0" y="2701481"/>
                    </a:cubicBezTo>
                    <a:lnTo>
                      <a:pt x="0" y="2878646"/>
                    </a:lnTo>
                    <a:cubicBezTo>
                      <a:pt x="0" y="2889504"/>
                      <a:pt x="8858" y="2898362"/>
                      <a:pt x="19717" y="2898362"/>
                    </a:cubicBezTo>
                    <a:close/>
                    <a:moveTo>
                      <a:pt x="19717" y="1127189"/>
                    </a:moveTo>
                    <a:cubicBezTo>
                      <a:pt x="30671" y="1127189"/>
                      <a:pt x="39434" y="1118330"/>
                      <a:pt x="39434" y="1107472"/>
                    </a:cubicBezTo>
                    <a:lnTo>
                      <a:pt x="39434" y="930307"/>
                    </a:lnTo>
                    <a:cubicBezTo>
                      <a:pt x="39434" y="919353"/>
                      <a:pt x="30575" y="910590"/>
                      <a:pt x="19717" y="910590"/>
                    </a:cubicBezTo>
                    <a:cubicBezTo>
                      <a:pt x="8763" y="910590"/>
                      <a:pt x="0" y="919448"/>
                      <a:pt x="0" y="930307"/>
                    </a:cubicBezTo>
                    <a:lnTo>
                      <a:pt x="0" y="1107472"/>
                    </a:lnTo>
                    <a:cubicBezTo>
                      <a:pt x="0" y="1118330"/>
                      <a:pt x="8858" y="1127189"/>
                      <a:pt x="19717" y="1127189"/>
                    </a:cubicBezTo>
                    <a:close/>
                    <a:moveTo>
                      <a:pt x="19717" y="3961067"/>
                    </a:moveTo>
                    <a:cubicBezTo>
                      <a:pt x="30671" y="3961067"/>
                      <a:pt x="39434" y="3952208"/>
                      <a:pt x="39434" y="3941350"/>
                    </a:cubicBezTo>
                    <a:lnTo>
                      <a:pt x="39434" y="3764185"/>
                    </a:lnTo>
                    <a:cubicBezTo>
                      <a:pt x="39434" y="3753231"/>
                      <a:pt x="30575" y="3744468"/>
                      <a:pt x="19717" y="3744468"/>
                    </a:cubicBezTo>
                    <a:cubicBezTo>
                      <a:pt x="8763" y="3744468"/>
                      <a:pt x="0" y="3753326"/>
                      <a:pt x="0" y="3764185"/>
                    </a:cubicBezTo>
                    <a:lnTo>
                      <a:pt x="0" y="3941350"/>
                    </a:lnTo>
                    <a:cubicBezTo>
                      <a:pt x="0" y="3952208"/>
                      <a:pt x="8858" y="3961067"/>
                      <a:pt x="19717" y="3961067"/>
                    </a:cubicBezTo>
                    <a:close/>
                    <a:moveTo>
                      <a:pt x="19717" y="5023771"/>
                    </a:moveTo>
                    <a:cubicBezTo>
                      <a:pt x="30671" y="5023771"/>
                      <a:pt x="39434" y="5014913"/>
                      <a:pt x="39434" y="5004055"/>
                    </a:cubicBezTo>
                    <a:lnTo>
                      <a:pt x="39434" y="4826889"/>
                    </a:lnTo>
                    <a:cubicBezTo>
                      <a:pt x="39434" y="4815935"/>
                      <a:pt x="30575" y="4807173"/>
                      <a:pt x="19717" y="4807173"/>
                    </a:cubicBezTo>
                    <a:cubicBezTo>
                      <a:pt x="8763" y="4807173"/>
                      <a:pt x="0" y="4816031"/>
                      <a:pt x="0" y="4826889"/>
                    </a:cubicBezTo>
                    <a:lnTo>
                      <a:pt x="0" y="5004055"/>
                    </a:lnTo>
                    <a:cubicBezTo>
                      <a:pt x="0" y="5014913"/>
                      <a:pt x="8858" y="5023771"/>
                      <a:pt x="19717" y="5023771"/>
                    </a:cubicBezTo>
                    <a:close/>
                    <a:moveTo>
                      <a:pt x="19717" y="4669536"/>
                    </a:moveTo>
                    <a:cubicBezTo>
                      <a:pt x="30671" y="4669536"/>
                      <a:pt x="39434" y="4660678"/>
                      <a:pt x="39434" y="4649819"/>
                    </a:cubicBezTo>
                    <a:lnTo>
                      <a:pt x="39434" y="4472654"/>
                    </a:lnTo>
                    <a:cubicBezTo>
                      <a:pt x="39434" y="4461701"/>
                      <a:pt x="30575" y="4452938"/>
                      <a:pt x="19717" y="4452938"/>
                    </a:cubicBezTo>
                    <a:cubicBezTo>
                      <a:pt x="8763" y="4452938"/>
                      <a:pt x="0" y="4461796"/>
                      <a:pt x="0" y="4472654"/>
                    </a:cubicBezTo>
                    <a:lnTo>
                      <a:pt x="0" y="4649819"/>
                    </a:lnTo>
                    <a:cubicBezTo>
                      <a:pt x="0" y="4660678"/>
                      <a:pt x="8858" y="4669536"/>
                      <a:pt x="19717" y="4669536"/>
                    </a:cubicBezTo>
                    <a:close/>
                    <a:moveTo>
                      <a:pt x="39529" y="5202746"/>
                    </a:moveTo>
                    <a:lnTo>
                      <a:pt x="39529" y="5181124"/>
                    </a:lnTo>
                    <a:cubicBezTo>
                      <a:pt x="39529" y="5170171"/>
                      <a:pt x="30671" y="5161407"/>
                      <a:pt x="19812" y="5161407"/>
                    </a:cubicBezTo>
                    <a:cubicBezTo>
                      <a:pt x="8858" y="5161407"/>
                      <a:pt x="95" y="5170265"/>
                      <a:pt x="95" y="5181124"/>
                    </a:cubicBezTo>
                    <a:lnTo>
                      <a:pt x="95" y="5202746"/>
                    </a:lnTo>
                    <a:cubicBezTo>
                      <a:pt x="95" y="5256657"/>
                      <a:pt x="7239" y="5310092"/>
                      <a:pt x="21431" y="5361527"/>
                    </a:cubicBezTo>
                    <a:cubicBezTo>
                      <a:pt x="23813" y="5370290"/>
                      <a:pt x="31814" y="5376101"/>
                      <a:pt x="40481" y="5376101"/>
                    </a:cubicBezTo>
                    <a:cubicBezTo>
                      <a:pt x="42196" y="5376101"/>
                      <a:pt x="44006" y="5375910"/>
                      <a:pt x="45720" y="5375339"/>
                    </a:cubicBezTo>
                    <a:cubicBezTo>
                      <a:pt x="56198" y="5372481"/>
                      <a:pt x="62389" y="5361527"/>
                      <a:pt x="59531" y="5351050"/>
                    </a:cubicBezTo>
                    <a:cubicBezTo>
                      <a:pt x="46196" y="5303044"/>
                      <a:pt x="39529" y="5253133"/>
                      <a:pt x="39529" y="5202746"/>
                    </a:cubicBezTo>
                    <a:close/>
                    <a:moveTo>
                      <a:pt x="149638" y="232124"/>
                    </a:moveTo>
                    <a:cubicBezTo>
                      <a:pt x="140970" y="225552"/>
                      <a:pt x="128588" y="227267"/>
                      <a:pt x="121920" y="235934"/>
                    </a:cubicBezTo>
                    <a:cubicBezTo>
                      <a:pt x="84773" y="284798"/>
                      <a:pt x="55436" y="338709"/>
                      <a:pt x="34862" y="396240"/>
                    </a:cubicBezTo>
                    <a:cubicBezTo>
                      <a:pt x="31147" y="406527"/>
                      <a:pt x="36481" y="417862"/>
                      <a:pt x="46768" y="421481"/>
                    </a:cubicBezTo>
                    <a:cubicBezTo>
                      <a:pt x="48959" y="422243"/>
                      <a:pt x="51245" y="422624"/>
                      <a:pt x="53435" y="422624"/>
                    </a:cubicBezTo>
                    <a:cubicBezTo>
                      <a:pt x="61532" y="422624"/>
                      <a:pt x="69152" y="417576"/>
                      <a:pt x="72009" y="409480"/>
                    </a:cubicBezTo>
                    <a:cubicBezTo>
                      <a:pt x="91250" y="355759"/>
                      <a:pt x="118586" y="305372"/>
                      <a:pt x="153353" y="259842"/>
                    </a:cubicBezTo>
                    <a:cubicBezTo>
                      <a:pt x="160020" y="251174"/>
                      <a:pt x="158306" y="238792"/>
                      <a:pt x="149638" y="232124"/>
                    </a:cubicBezTo>
                    <a:close/>
                    <a:moveTo>
                      <a:pt x="19717" y="4315301"/>
                    </a:moveTo>
                    <a:cubicBezTo>
                      <a:pt x="30671" y="4315301"/>
                      <a:pt x="39434" y="4306443"/>
                      <a:pt x="39434" y="4295585"/>
                    </a:cubicBezTo>
                    <a:lnTo>
                      <a:pt x="39434" y="4118515"/>
                    </a:lnTo>
                    <a:cubicBezTo>
                      <a:pt x="39434" y="4107561"/>
                      <a:pt x="30575" y="4098798"/>
                      <a:pt x="19717" y="4098798"/>
                    </a:cubicBezTo>
                    <a:cubicBezTo>
                      <a:pt x="8763" y="4098798"/>
                      <a:pt x="0" y="4107656"/>
                      <a:pt x="0" y="4118515"/>
                    </a:cubicBezTo>
                    <a:lnTo>
                      <a:pt x="0" y="4295585"/>
                    </a:lnTo>
                    <a:cubicBezTo>
                      <a:pt x="0" y="4306443"/>
                      <a:pt x="8858" y="4315301"/>
                      <a:pt x="19717" y="4315301"/>
                    </a:cubicBezTo>
                    <a:close/>
                    <a:moveTo>
                      <a:pt x="19717" y="3606832"/>
                    </a:moveTo>
                    <a:cubicBezTo>
                      <a:pt x="30671" y="3606832"/>
                      <a:pt x="39434" y="3597974"/>
                      <a:pt x="39434" y="3587020"/>
                    </a:cubicBezTo>
                    <a:lnTo>
                      <a:pt x="39434" y="3409855"/>
                    </a:lnTo>
                    <a:cubicBezTo>
                      <a:pt x="39434" y="3398901"/>
                      <a:pt x="30575" y="3390138"/>
                      <a:pt x="19717" y="3390138"/>
                    </a:cubicBezTo>
                    <a:cubicBezTo>
                      <a:pt x="8763" y="3390138"/>
                      <a:pt x="0" y="3398996"/>
                      <a:pt x="0" y="3409855"/>
                    </a:cubicBezTo>
                    <a:lnTo>
                      <a:pt x="0" y="3587020"/>
                    </a:lnTo>
                    <a:cubicBezTo>
                      <a:pt x="0" y="3597974"/>
                      <a:pt x="8858" y="3606832"/>
                      <a:pt x="19717" y="3606832"/>
                    </a:cubicBezTo>
                    <a:close/>
                    <a:moveTo>
                      <a:pt x="19717" y="3252597"/>
                    </a:moveTo>
                    <a:cubicBezTo>
                      <a:pt x="30671" y="3252597"/>
                      <a:pt x="39434" y="3243739"/>
                      <a:pt x="39434" y="3232881"/>
                    </a:cubicBezTo>
                    <a:lnTo>
                      <a:pt x="39434" y="3055715"/>
                    </a:lnTo>
                    <a:cubicBezTo>
                      <a:pt x="39434" y="3044762"/>
                      <a:pt x="30575" y="3035999"/>
                      <a:pt x="19717" y="3035999"/>
                    </a:cubicBezTo>
                    <a:cubicBezTo>
                      <a:pt x="8763" y="3035999"/>
                      <a:pt x="0" y="3044857"/>
                      <a:pt x="0" y="3055715"/>
                    </a:cubicBezTo>
                    <a:lnTo>
                      <a:pt x="0" y="3232881"/>
                    </a:lnTo>
                    <a:cubicBezTo>
                      <a:pt x="0" y="3243739"/>
                      <a:pt x="8858" y="3252597"/>
                      <a:pt x="19717" y="3252597"/>
                    </a:cubicBezTo>
                    <a:close/>
                    <a:moveTo>
                      <a:pt x="5382292" y="3609594"/>
                    </a:moveTo>
                    <a:cubicBezTo>
                      <a:pt x="5371338" y="3609594"/>
                      <a:pt x="5362575" y="3618452"/>
                      <a:pt x="5362575" y="3629311"/>
                    </a:cubicBezTo>
                    <a:lnTo>
                      <a:pt x="5362575" y="3806381"/>
                    </a:lnTo>
                    <a:cubicBezTo>
                      <a:pt x="5362575" y="3817334"/>
                      <a:pt x="5371433" y="3826098"/>
                      <a:pt x="5382292" y="3826098"/>
                    </a:cubicBezTo>
                    <a:cubicBezTo>
                      <a:pt x="5393245" y="3826098"/>
                      <a:pt x="5402009" y="3817239"/>
                      <a:pt x="5402009" y="3806381"/>
                    </a:cubicBezTo>
                    <a:lnTo>
                      <a:pt x="5402009" y="3629311"/>
                    </a:lnTo>
                    <a:cubicBezTo>
                      <a:pt x="5402009" y="3618452"/>
                      <a:pt x="5393151" y="3609594"/>
                      <a:pt x="5382292" y="3609594"/>
                    </a:cubicBezTo>
                    <a:close/>
                    <a:moveTo>
                      <a:pt x="2919032" y="19717"/>
                    </a:moveTo>
                    <a:cubicBezTo>
                      <a:pt x="2919032" y="8763"/>
                      <a:pt x="2910173" y="0"/>
                      <a:pt x="2899315" y="0"/>
                    </a:cubicBezTo>
                    <a:lnTo>
                      <a:pt x="2722245" y="0"/>
                    </a:lnTo>
                    <a:cubicBezTo>
                      <a:pt x="2711291" y="0"/>
                      <a:pt x="2702528" y="8858"/>
                      <a:pt x="2702528" y="19717"/>
                    </a:cubicBezTo>
                    <a:cubicBezTo>
                      <a:pt x="2702528" y="30670"/>
                      <a:pt x="2711387" y="39434"/>
                      <a:pt x="2722245" y="39434"/>
                    </a:cubicBezTo>
                    <a:lnTo>
                      <a:pt x="2899315" y="39434"/>
                    </a:lnTo>
                    <a:cubicBezTo>
                      <a:pt x="2910173" y="39434"/>
                      <a:pt x="2919032" y="30670"/>
                      <a:pt x="2919032" y="19717"/>
                    </a:cubicBezTo>
                    <a:close/>
                    <a:moveTo>
                      <a:pt x="5382292" y="3963829"/>
                    </a:moveTo>
                    <a:cubicBezTo>
                      <a:pt x="5371338" y="3963829"/>
                      <a:pt x="5362575" y="3972687"/>
                      <a:pt x="5362575" y="3983546"/>
                    </a:cubicBezTo>
                    <a:lnTo>
                      <a:pt x="5362575" y="4160711"/>
                    </a:lnTo>
                    <a:cubicBezTo>
                      <a:pt x="5362575" y="4171664"/>
                      <a:pt x="5371433" y="4180427"/>
                      <a:pt x="5382292" y="4180427"/>
                    </a:cubicBezTo>
                    <a:cubicBezTo>
                      <a:pt x="5393245" y="4180427"/>
                      <a:pt x="5402009" y="4171569"/>
                      <a:pt x="5402009" y="4160711"/>
                    </a:cubicBezTo>
                    <a:lnTo>
                      <a:pt x="5402009" y="3983546"/>
                    </a:lnTo>
                    <a:cubicBezTo>
                      <a:pt x="5402009" y="3972687"/>
                      <a:pt x="5393151" y="3963829"/>
                      <a:pt x="5382292" y="3963829"/>
                    </a:cubicBezTo>
                    <a:close/>
                    <a:moveTo>
                      <a:pt x="5382292" y="4318064"/>
                    </a:moveTo>
                    <a:cubicBezTo>
                      <a:pt x="5371338" y="4318064"/>
                      <a:pt x="5362575" y="4326922"/>
                      <a:pt x="5362575" y="4337781"/>
                    </a:cubicBezTo>
                    <a:lnTo>
                      <a:pt x="5362575" y="4514945"/>
                    </a:lnTo>
                    <a:cubicBezTo>
                      <a:pt x="5362575" y="4525899"/>
                      <a:pt x="5371433" y="4534662"/>
                      <a:pt x="5382292" y="4534662"/>
                    </a:cubicBezTo>
                    <a:cubicBezTo>
                      <a:pt x="5393245" y="4534662"/>
                      <a:pt x="5402009" y="4525804"/>
                      <a:pt x="5402009" y="4514945"/>
                    </a:cubicBezTo>
                    <a:lnTo>
                      <a:pt x="5402009" y="4337781"/>
                    </a:lnTo>
                    <a:cubicBezTo>
                      <a:pt x="5402009" y="4326922"/>
                      <a:pt x="5393151" y="4318064"/>
                      <a:pt x="5382292" y="4318064"/>
                    </a:cubicBezTo>
                    <a:close/>
                    <a:moveTo>
                      <a:pt x="5382292" y="5026533"/>
                    </a:moveTo>
                    <a:cubicBezTo>
                      <a:pt x="5371338" y="5026533"/>
                      <a:pt x="5362575" y="5035392"/>
                      <a:pt x="5362575" y="5046250"/>
                    </a:cubicBezTo>
                    <a:lnTo>
                      <a:pt x="5362575" y="5202746"/>
                    </a:lnTo>
                    <a:cubicBezTo>
                      <a:pt x="5362575" y="5209413"/>
                      <a:pt x="5362480" y="5216081"/>
                      <a:pt x="5362194" y="5222748"/>
                    </a:cubicBezTo>
                    <a:cubicBezTo>
                      <a:pt x="5361813" y="5233607"/>
                      <a:pt x="5370290" y="5242846"/>
                      <a:pt x="5381244" y="5243227"/>
                    </a:cubicBezTo>
                    <a:cubicBezTo>
                      <a:pt x="5381435" y="5243227"/>
                      <a:pt x="5381721" y="5243227"/>
                      <a:pt x="5381911" y="5243227"/>
                    </a:cubicBezTo>
                    <a:cubicBezTo>
                      <a:pt x="5392484" y="5243227"/>
                      <a:pt x="5401247" y="5234845"/>
                      <a:pt x="5401628" y="5224177"/>
                    </a:cubicBezTo>
                    <a:cubicBezTo>
                      <a:pt x="5401914" y="5217129"/>
                      <a:pt x="5402009" y="5209985"/>
                      <a:pt x="5402009" y="5202841"/>
                    </a:cubicBezTo>
                    <a:lnTo>
                      <a:pt x="5402009" y="5046346"/>
                    </a:lnTo>
                    <a:cubicBezTo>
                      <a:pt x="5402009" y="5035392"/>
                      <a:pt x="5393151" y="5026533"/>
                      <a:pt x="5382292" y="5026533"/>
                    </a:cubicBezTo>
                    <a:close/>
                    <a:moveTo>
                      <a:pt x="5382292" y="4672299"/>
                    </a:moveTo>
                    <a:cubicBezTo>
                      <a:pt x="5371338" y="4672299"/>
                      <a:pt x="5362575" y="4681157"/>
                      <a:pt x="5362575" y="4692015"/>
                    </a:cubicBezTo>
                    <a:lnTo>
                      <a:pt x="5362575" y="4869085"/>
                    </a:lnTo>
                    <a:cubicBezTo>
                      <a:pt x="5362575" y="4880039"/>
                      <a:pt x="5371433" y="4888802"/>
                      <a:pt x="5382292" y="4888802"/>
                    </a:cubicBezTo>
                    <a:cubicBezTo>
                      <a:pt x="5393245" y="4888802"/>
                      <a:pt x="5402009" y="4879943"/>
                      <a:pt x="5402009" y="4869085"/>
                    </a:cubicBezTo>
                    <a:lnTo>
                      <a:pt x="5402009" y="4692015"/>
                    </a:lnTo>
                    <a:cubicBezTo>
                      <a:pt x="5402009" y="4681157"/>
                      <a:pt x="5393151" y="4672299"/>
                      <a:pt x="5382292" y="4672299"/>
                    </a:cubicBezTo>
                    <a:close/>
                    <a:moveTo>
                      <a:pt x="5382292" y="2901125"/>
                    </a:moveTo>
                    <a:cubicBezTo>
                      <a:pt x="5371338" y="2901125"/>
                      <a:pt x="5362575" y="2909983"/>
                      <a:pt x="5362575" y="2920841"/>
                    </a:cubicBezTo>
                    <a:lnTo>
                      <a:pt x="5362575" y="3097911"/>
                    </a:lnTo>
                    <a:cubicBezTo>
                      <a:pt x="5362575" y="3108865"/>
                      <a:pt x="5371433" y="3117628"/>
                      <a:pt x="5382292" y="3117628"/>
                    </a:cubicBezTo>
                    <a:cubicBezTo>
                      <a:pt x="5393245" y="3117628"/>
                      <a:pt x="5402009" y="3108769"/>
                      <a:pt x="5402009" y="3097911"/>
                    </a:cubicBezTo>
                    <a:lnTo>
                      <a:pt x="5402009" y="2920841"/>
                    </a:lnTo>
                    <a:cubicBezTo>
                      <a:pt x="5402009" y="2909983"/>
                      <a:pt x="5393151" y="2901125"/>
                      <a:pt x="5382292" y="2901125"/>
                    </a:cubicBezTo>
                    <a:close/>
                    <a:moveTo>
                      <a:pt x="5382292" y="2546890"/>
                    </a:moveTo>
                    <a:cubicBezTo>
                      <a:pt x="5371338" y="2546890"/>
                      <a:pt x="5362575" y="2555748"/>
                      <a:pt x="5362575" y="2566607"/>
                    </a:cubicBezTo>
                    <a:lnTo>
                      <a:pt x="5362575" y="2743772"/>
                    </a:lnTo>
                    <a:cubicBezTo>
                      <a:pt x="5362575" y="2754725"/>
                      <a:pt x="5371433" y="2763488"/>
                      <a:pt x="5382292" y="2763488"/>
                    </a:cubicBezTo>
                    <a:cubicBezTo>
                      <a:pt x="5393245" y="2763488"/>
                      <a:pt x="5402009" y="2754630"/>
                      <a:pt x="5402009" y="2743772"/>
                    </a:cubicBezTo>
                    <a:lnTo>
                      <a:pt x="5402009" y="2566607"/>
                    </a:lnTo>
                    <a:cubicBezTo>
                      <a:pt x="5402009" y="2555748"/>
                      <a:pt x="5393151" y="2546890"/>
                      <a:pt x="5382292" y="2546890"/>
                    </a:cubicBezTo>
                    <a:close/>
                    <a:moveTo>
                      <a:pt x="5382292" y="1129951"/>
                    </a:moveTo>
                    <a:cubicBezTo>
                      <a:pt x="5371338" y="1129951"/>
                      <a:pt x="5362575" y="1138809"/>
                      <a:pt x="5362575" y="1149668"/>
                    </a:cubicBezTo>
                    <a:lnTo>
                      <a:pt x="5362575" y="1326833"/>
                    </a:lnTo>
                    <a:cubicBezTo>
                      <a:pt x="5362575" y="1337786"/>
                      <a:pt x="5371433" y="1346549"/>
                      <a:pt x="5382292" y="1346549"/>
                    </a:cubicBezTo>
                    <a:cubicBezTo>
                      <a:pt x="5393245" y="1346549"/>
                      <a:pt x="5402009" y="1337691"/>
                      <a:pt x="5402009" y="1326833"/>
                    </a:cubicBezTo>
                    <a:lnTo>
                      <a:pt x="5402009" y="1149668"/>
                    </a:lnTo>
                    <a:cubicBezTo>
                      <a:pt x="5402009" y="1138809"/>
                      <a:pt x="5393151" y="1129951"/>
                      <a:pt x="5382292" y="1129951"/>
                    </a:cubicBezTo>
                    <a:close/>
                    <a:moveTo>
                      <a:pt x="5382292" y="775716"/>
                    </a:moveTo>
                    <a:cubicBezTo>
                      <a:pt x="5371338" y="775716"/>
                      <a:pt x="5362575" y="784574"/>
                      <a:pt x="5362575" y="795433"/>
                    </a:cubicBezTo>
                    <a:lnTo>
                      <a:pt x="5362575" y="972503"/>
                    </a:lnTo>
                    <a:cubicBezTo>
                      <a:pt x="5362575" y="983456"/>
                      <a:pt x="5371433" y="992219"/>
                      <a:pt x="5382292" y="992219"/>
                    </a:cubicBezTo>
                    <a:cubicBezTo>
                      <a:pt x="5393245" y="992219"/>
                      <a:pt x="5402009" y="983361"/>
                      <a:pt x="5402009" y="972503"/>
                    </a:cubicBezTo>
                    <a:lnTo>
                      <a:pt x="5402009" y="795528"/>
                    </a:lnTo>
                    <a:cubicBezTo>
                      <a:pt x="5402009" y="784574"/>
                      <a:pt x="5393151" y="775716"/>
                      <a:pt x="5382292" y="775716"/>
                    </a:cubicBezTo>
                    <a:close/>
                    <a:moveTo>
                      <a:pt x="5380387" y="437960"/>
                    </a:moveTo>
                    <a:cubicBezTo>
                      <a:pt x="5377434" y="427482"/>
                      <a:pt x="5366576" y="421291"/>
                      <a:pt x="5356098" y="424148"/>
                    </a:cubicBezTo>
                    <a:cubicBezTo>
                      <a:pt x="5345620" y="427101"/>
                      <a:pt x="5339430" y="437960"/>
                      <a:pt x="5342287" y="448437"/>
                    </a:cubicBezTo>
                    <a:cubicBezTo>
                      <a:pt x="5355718" y="496824"/>
                      <a:pt x="5362480" y="547116"/>
                      <a:pt x="5362480" y="597789"/>
                    </a:cubicBezTo>
                    <a:lnTo>
                      <a:pt x="5362480" y="618363"/>
                    </a:lnTo>
                    <a:cubicBezTo>
                      <a:pt x="5362480" y="629317"/>
                      <a:pt x="5371338" y="638080"/>
                      <a:pt x="5382197" y="638080"/>
                    </a:cubicBezTo>
                    <a:cubicBezTo>
                      <a:pt x="5393151" y="638080"/>
                      <a:pt x="5401914" y="629222"/>
                      <a:pt x="5401914" y="618363"/>
                    </a:cubicBezTo>
                    <a:lnTo>
                      <a:pt x="5401914" y="597789"/>
                    </a:lnTo>
                    <a:cubicBezTo>
                      <a:pt x="5402009" y="543497"/>
                      <a:pt x="5394770" y="489776"/>
                      <a:pt x="5380387" y="437960"/>
                    </a:cubicBezTo>
                    <a:close/>
                    <a:moveTo>
                      <a:pt x="5382292" y="2192655"/>
                    </a:moveTo>
                    <a:cubicBezTo>
                      <a:pt x="5371338" y="2192655"/>
                      <a:pt x="5362575" y="2201513"/>
                      <a:pt x="5362575" y="2212372"/>
                    </a:cubicBezTo>
                    <a:lnTo>
                      <a:pt x="5362575" y="2389537"/>
                    </a:lnTo>
                    <a:cubicBezTo>
                      <a:pt x="5362575" y="2400491"/>
                      <a:pt x="5371433" y="2409254"/>
                      <a:pt x="5382292" y="2409254"/>
                    </a:cubicBezTo>
                    <a:cubicBezTo>
                      <a:pt x="5393245" y="2409254"/>
                      <a:pt x="5402009" y="2400395"/>
                      <a:pt x="5402009" y="2389537"/>
                    </a:cubicBezTo>
                    <a:lnTo>
                      <a:pt x="5402009" y="2212372"/>
                    </a:lnTo>
                    <a:cubicBezTo>
                      <a:pt x="5402009" y="2201513"/>
                      <a:pt x="5393151" y="2192655"/>
                      <a:pt x="5382292" y="2192655"/>
                    </a:cubicBezTo>
                    <a:close/>
                    <a:moveTo>
                      <a:pt x="5355622" y="5378101"/>
                    </a:moveTo>
                    <a:cubicBezTo>
                      <a:pt x="5345335" y="5374386"/>
                      <a:pt x="5334000" y="5379815"/>
                      <a:pt x="5330381" y="5390102"/>
                    </a:cubicBezTo>
                    <a:cubicBezTo>
                      <a:pt x="5311235" y="5443919"/>
                      <a:pt x="5283994" y="5494306"/>
                      <a:pt x="5249323" y="5539931"/>
                    </a:cubicBezTo>
                    <a:cubicBezTo>
                      <a:pt x="5242751" y="5548599"/>
                      <a:pt x="5244465" y="5560981"/>
                      <a:pt x="5253133" y="5567649"/>
                    </a:cubicBezTo>
                    <a:cubicBezTo>
                      <a:pt x="5256753" y="5570315"/>
                      <a:pt x="5260944" y="5571649"/>
                      <a:pt x="5265039" y="5571649"/>
                    </a:cubicBezTo>
                    <a:cubicBezTo>
                      <a:pt x="5271040" y="5571649"/>
                      <a:pt x="5276946" y="5568982"/>
                      <a:pt x="5280755" y="5563838"/>
                    </a:cubicBezTo>
                    <a:cubicBezTo>
                      <a:pt x="5317808" y="5514975"/>
                      <a:pt x="5347049" y="5460968"/>
                      <a:pt x="5367528" y="5403342"/>
                    </a:cubicBezTo>
                    <a:cubicBezTo>
                      <a:pt x="5371243" y="5393055"/>
                      <a:pt x="5365909" y="5381720"/>
                      <a:pt x="5355622" y="5378101"/>
                    </a:cubicBezTo>
                    <a:close/>
                    <a:moveTo>
                      <a:pt x="5382292" y="1838420"/>
                    </a:moveTo>
                    <a:cubicBezTo>
                      <a:pt x="5371338" y="1838420"/>
                      <a:pt x="5362575" y="1847279"/>
                      <a:pt x="5362575" y="1858137"/>
                    </a:cubicBezTo>
                    <a:lnTo>
                      <a:pt x="5362575" y="2035207"/>
                    </a:lnTo>
                    <a:cubicBezTo>
                      <a:pt x="5362575" y="2046161"/>
                      <a:pt x="5371433" y="2054924"/>
                      <a:pt x="5382292" y="2054924"/>
                    </a:cubicBezTo>
                    <a:cubicBezTo>
                      <a:pt x="5393245" y="2054924"/>
                      <a:pt x="5402009" y="2046065"/>
                      <a:pt x="5402009" y="2035207"/>
                    </a:cubicBezTo>
                    <a:lnTo>
                      <a:pt x="5402009" y="1858137"/>
                    </a:lnTo>
                    <a:cubicBezTo>
                      <a:pt x="5402009" y="1847279"/>
                      <a:pt x="5393151" y="1838420"/>
                      <a:pt x="5382292" y="1838420"/>
                    </a:cubicBezTo>
                    <a:close/>
                    <a:moveTo>
                      <a:pt x="5382292" y="1484186"/>
                    </a:moveTo>
                    <a:cubicBezTo>
                      <a:pt x="5371338" y="1484186"/>
                      <a:pt x="5362575" y="1493044"/>
                      <a:pt x="5362575" y="1503902"/>
                    </a:cubicBezTo>
                    <a:lnTo>
                      <a:pt x="5362575" y="1681067"/>
                    </a:lnTo>
                    <a:cubicBezTo>
                      <a:pt x="5362575" y="1692021"/>
                      <a:pt x="5371433" y="1700784"/>
                      <a:pt x="5382292" y="1700784"/>
                    </a:cubicBezTo>
                    <a:cubicBezTo>
                      <a:pt x="5393245" y="1700784"/>
                      <a:pt x="5402009" y="1691926"/>
                      <a:pt x="5402009" y="1681067"/>
                    </a:cubicBezTo>
                    <a:lnTo>
                      <a:pt x="5402009" y="1503902"/>
                    </a:lnTo>
                    <a:cubicBezTo>
                      <a:pt x="5402009" y="1493044"/>
                      <a:pt x="5393151" y="1484186"/>
                      <a:pt x="5382292" y="1484186"/>
                    </a:cubicBezTo>
                    <a:close/>
                    <a:moveTo>
                      <a:pt x="5382292" y="3255359"/>
                    </a:moveTo>
                    <a:cubicBezTo>
                      <a:pt x="5371338" y="3255359"/>
                      <a:pt x="5362575" y="3264218"/>
                      <a:pt x="5362575" y="3275076"/>
                    </a:cubicBezTo>
                    <a:lnTo>
                      <a:pt x="5362575" y="3452241"/>
                    </a:lnTo>
                    <a:cubicBezTo>
                      <a:pt x="5362575" y="3463195"/>
                      <a:pt x="5371433" y="3471958"/>
                      <a:pt x="5382292" y="3471958"/>
                    </a:cubicBezTo>
                    <a:cubicBezTo>
                      <a:pt x="5393245" y="3471958"/>
                      <a:pt x="5402009" y="3463100"/>
                      <a:pt x="5402009" y="3452241"/>
                    </a:cubicBezTo>
                    <a:lnTo>
                      <a:pt x="5402009" y="3275076"/>
                    </a:lnTo>
                    <a:cubicBezTo>
                      <a:pt x="5402009" y="3264218"/>
                      <a:pt x="5393151" y="3255359"/>
                      <a:pt x="5382292" y="3255359"/>
                    </a:cubicBezTo>
                    <a:close/>
                    <a:moveTo>
                      <a:pt x="5288756" y="302228"/>
                    </a:moveTo>
                    <a:cubicBezTo>
                      <a:pt x="5292471" y="302228"/>
                      <a:pt x="5296186" y="301181"/>
                      <a:pt x="5299520" y="298990"/>
                    </a:cubicBezTo>
                    <a:cubicBezTo>
                      <a:pt x="5308664" y="292989"/>
                      <a:pt x="5311235" y="280797"/>
                      <a:pt x="5305235" y="271653"/>
                    </a:cubicBezTo>
                    <a:cubicBezTo>
                      <a:pt x="5271802" y="220409"/>
                      <a:pt x="5230844" y="174689"/>
                      <a:pt x="5183505" y="135827"/>
                    </a:cubicBezTo>
                    <a:cubicBezTo>
                      <a:pt x="5175123" y="128873"/>
                      <a:pt x="5162646" y="130111"/>
                      <a:pt x="5155693" y="138589"/>
                    </a:cubicBezTo>
                    <a:cubicBezTo>
                      <a:pt x="5148739" y="146971"/>
                      <a:pt x="5149977" y="159449"/>
                      <a:pt x="5158455" y="166402"/>
                    </a:cubicBezTo>
                    <a:cubicBezTo>
                      <a:pt x="5202651" y="202787"/>
                      <a:pt x="5240941" y="245459"/>
                      <a:pt x="5272088" y="293370"/>
                    </a:cubicBezTo>
                    <a:cubicBezTo>
                      <a:pt x="5275993" y="299085"/>
                      <a:pt x="5282280" y="302228"/>
                      <a:pt x="5288756" y="302228"/>
                    </a:cubicBezTo>
                    <a:close/>
                    <a:moveTo>
                      <a:pt x="3627501" y="19717"/>
                    </a:moveTo>
                    <a:cubicBezTo>
                      <a:pt x="3627501" y="8763"/>
                      <a:pt x="3618643" y="0"/>
                      <a:pt x="3607784" y="0"/>
                    </a:cubicBezTo>
                    <a:lnTo>
                      <a:pt x="3430715" y="0"/>
                    </a:lnTo>
                    <a:cubicBezTo>
                      <a:pt x="3419761" y="0"/>
                      <a:pt x="3410998" y="8858"/>
                      <a:pt x="3410998" y="19717"/>
                    </a:cubicBezTo>
                    <a:cubicBezTo>
                      <a:pt x="3410998" y="30670"/>
                      <a:pt x="3419856" y="39434"/>
                      <a:pt x="3430715" y="39434"/>
                    </a:cubicBezTo>
                    <a:lnTo>
                      <a:pt x="3607784" y="39434"/>
                    </a:lnTo>
                    <a:cubicBezTo>
                      <a:pt x="3618643" y="39434"/>
                      <a:pt x="3627501" y="30670"/>
                      <a:pt x="3627501" y="19717"/>
                    </a:cubicBezTo>
                    <a:close/>
                    <a:moveTo>
                      <a:pt x="3981736" y="19717"/>
                    </a:moveTo>
                    <a:cubicBezTo>
                      <a:pt x="3981736" y="8763"/>
                      <a:pt x="3972878" y="0"/>
                      <a:pt x="3962019" y="0"/>
                    </a:cubicBezTo>
                    <a:lnTo>
                      <a:pt x="3784854" y="0"/>
                    </a:lnTo>
                    <a:cubicBezTo>
                      <a:pt x="3773900" y="0"/>
                      <a:pt x="3765137" y="8858"/>
                      <a:pt x="3765137" y="19717"/>
                    </a:cubicBezTo>
                    <a:cubicBezTo>
                      <a:pt x="3765137" y="30670"/>
                      <a:pt x="3773996" y="39434"/>
                      <a:pt x="3784854" y="39434"/>
                    </a:cubicBezTo>
                    <a:lnTo>
                      <a:pt x="3962019" y="39434"/>
                    </a:lnTo>
                    <a:cubicBezTo>
                      <a:pt x="3972878" y="39434"/>
                      <a:pt x="3981736" y="30670"/>
                      <a:pt x="3981736" y="19717"/>
                    </a:cubicBezTo>
                    <a:close/>
                    <a:moveTo>
                      <a:pt x="3741420" y="5761101"/>
                    </a:moveTo>
                    <a:lnTo>
                      <a:pt x="3564255" y="5761101"/>
                    </a:lnTo>
                    <a:cubicBezTo>
                      <a:pt x="3553301" y="5761101"/>
                      <a:pt x="3544538" y="5769959"/>
                      <a:pt x="3544538" y="5780818"/>
                    </a:cubicBezTo>
                    <a:cubicBezTo>
                      <a:pt x="3544538" y="5791772"/>
                      <a:pt x="3553397" y="5800535"/>
                      <a:pt x="3564255" y="5800535"/>
                    </a:cubicBezTo>
                    <a:lnTo>
                      <a:pt x="3741420" y="5800535"/>
                    </a:lnTo>
                    <a:cubicBezTo>
                      <a:pt x="3752374" y="5800535"/>
                      <a:pt x="3761137" y="5791677"/>
                      <a:pt x="3761137" y="5780818"/>
                    </a:cubicBezTo>
                    <a:cubicBezTo>
                      <a:pt x="3761232" y="5769959"/>
                      <a:pt x="3752374" y="5761101"/>
                      <a:pt x="3741420" y="5761101"/>
                    </a:cubicBezTo>
                    <a:close/>
                    <a:moveTo>
                      <a:pt x="3032951" y="5761101"/>
                    </a:moveTo>
                    <a:lnTo>
                      <a:pt x="2855881" y="5761101"/>
                    </a:lnTo>
                    <a:cubicBezTo>
                      <a:pt x="2844927" y="5761101"/>
                      <a:pt x="2836164" y="5769959"/>
                      <a:pt x="2836164" y="5780818"/>
                    </a:cubicBezTo>
                    <a:cubicBezTo>
                      <a:pt x="2836164" y="5791772"/>
                      <a:pt x="2845022" y="5800535"/>
                      <a:pt x="2855881" y="5800535"/>
                    </a:cubicBezTo>
                    <a:lnTo>
                      <a:pt x="3032951" y="5800535"/>
                    </a:lnTo>
                    <a:cubicBezTo>
                      <a:pt x="3043904" y="5800535"/>
                      <a:pt x="3052667" y="5791677"/>
                      <a:pt x="3052667" y="5780818"/>
                    </a:cubicBezTo>
                    <a:cubicBezTo>
                      <a:pt x="3052763" y="5769959"/>
                      <a:pt x="3043904" y="5761101"/>
                      <a:pt x="3032951" y="5761101"/>
                    </a:cubicBezTo>
                    <a:close/>
                    <a:moveTo>
                      <a:pt x="3387185" y="5761101"/>
                    </a:moveTo>
                    <a:lnTo>
                      <a:pt x="3210116" y="5761101"/>
                    </a:lnTo>
                    <a:cubicBezTo>
                      <a:pt x="3199162" y="5761101"/>
                      <a:pt x="3190399" y="5769959"/>
                      <a:pt x="3190399" y="5780818"/>
                    </a:cubicBezTo>
                    <a:cubicBezTo>
                      <a:pt x="3190399" y="5791772"/>
                      <a:pt x="3199257" y="5800535"/>
                      <a:pt x="3210116" y="5800535"/>
                    </a:cubicBezTo>
                    <a:lnTo>
                      <a:pt x="3387185" y="5800535"/>
                    </a:lnTo>
                    <a:cubicBezTo>
                      <a:pt x="3398139" y="5800535"/>
                      <a:pt x="3406902" y="5791677"/>
                      <a:pt x="3406902" y="5780818"/>
                    </a:cubicBezTo>
                    <a:cubicBezTo>
                      <a:pt x="3406997" y="5769959"/>
                      <a:pt x="3398139" y="5761101"/>
                      <a:pt x="3387185" y="5761101"/>
                    </a:cubicBezTo>
                    <a:close/>
                    <a:moveTo>
                      <a:pt x="3273266" y="19717"/>
                    </a:moveTo>
                    <a:cubicBezTo>
                      <a:pt x="3273266" y="8763"/>
                      <a:pt x="3264408" y="0"/>
                      <a:pt x="3253549" y="0"/>
                    </a:cubicBezTo>
                    <a:lnTo>
                      <a:pt x="3076480" y="0"/>
                    </a:lnTo>
                    <a:cubicBezTo>
                      <a:pt x="3065526" y="0"/>
                      <a:pt x="3056763" y="8858"/>
                      <a:pt x="3056763" y="19717"/>
                    </a:cubicBezTo>
                    <a:cubicBezTo>
                      <a:pt x="3056763" y="30670"/>
                      <a:pt x="3065621" y="39434"/>
                      <a:pt x="3076480" y="39434"/>
                    </a:cubicBezTo>
                    <a:lnTo>
                      <a:pt x="3253549" y="39434"/>
                    </a:lnTo>
                    <a:cubicBezTo>
                      <a:pt x="3264408" y="39434"/>
                      <a:pt x="3273266" y="30670"/>
                      <a:pt x="3273266" y="19717"/>
                    </a:cubicBezTo>
                    <a:close/>
                    <a:moveTo>
                      <a:pt x="4095655" y="5761101"/>
                    </a:moveTo>
                    <a:lnTo>
                      <a:pt x="3918490" y="5761101"/>
                    </a:lnTo>
                    <a:cubicBezTo>
                      <a:pt x="3907536" y="5761101"/>
                      <a:pt x="3898773" y="5769959"/>
                      <a:pt x="3898773" y="5780818"/>
                    </a:cubicBezTo>
                    <a:cubicBezTo>
                      <a:pt x="3898773" y="5791772"/>
                      <a:pt x="3907631" y="5800535"/>
                      <a:pt x="3918490" y="5800535"/>
                    </a:cubicBezTo>
                    <a:lnTo>
                      <a:pt x="4095655" y="5800535"/>
                    </a:lnTo>
                    <a:cubicBezTo>
                      <a:pt x="4106609" y="5800535"/>
                      <a:pt x="4115372" y="5791677"/>
                      <a:pt x="4115372" y="5780818"/>
                    </a:cubicBezTo>
                    <a:cubicBezTo>
                      <a:pt x="4115467" y="5769959"/>
                      <a:pt x="4106609" y="5761101"/>
                      <a:pt x="4095655" y="5761101"/>
                    </a:cubicBezTo>
                    <a:close/>
                    <a:moveTo>
                      <a:pt x="5019389" y="80867"/>
                    </a:moveTo>
                    <a:cubicBezTo>
                      <a:pt x="5027200" y="80867"/>
                      <a:pt x="5034630" y="76200"/>
                      <a:pt x="5037773" y="68485"/>
                    </a:cubicBezTo>
                    <a:cubicBezTo>
                      <a:pt x="5041869" y="58388"/>
                      <a:pt x="5036915" y="46863"/>
                      <a:pt x="5026819" y="42767"/>
                    </a:cubicBezTo>
                    <a:cubicBezTo>
                      <a:pt x="4970050" y="20003"/>
                      <a:pt x="4910328" y="6191"/>
                      <a:pt x="4849082" y="1619"/>
                    </a:cubicBezTo>
                    <a:cubicBezTo>
                      <a:pt x="4838224" y="857"/>
                      <a:pt x="4828699" y="8954"/>
                      <a:pt x="4827937" y="19907"/>
                    </a:cubicBezTo>
                    <a:cubicBezTo>
                      <a:pt x="4827175" y="30766"/>
                      <a:pt x="4835271" y="40291"/>
                      <a:pt x="4846225" y="41053"/>
                    </a:cubicBezTo>
                    <a:cubicBezTo>
                      <a:pt x="4903375" y="45244"/>
                      <a:pt x="4959192" y="58198"/>
                      <a:pt x="5012151" y="79439"/>
                    </a:cubicBezTo>
                    <a:cubicBezTo>
                      <a:pt x="5014437" y="80391"/>
                      <a:pt x="5016913" y="80867"/>
                      <a:pt x="5019389" y="80867"/>
                    </a:cubicBezTo>
                    <a:close/>
                    <a:moveTo>
                      <a:pt x="4806410" y="5761101"/>
                    </a:moveTo>
                    <a:lnTo>
                      <a:pt x="4627055" y="5761101"/>
                    </a:lnTo>
                    <a:cubicBezTo>
                      <a:pt x="4616101" y="5761101"/>
                      <a:pt x="4607338" y="5769959"/>
                      <a:pt x="4607338" y="5780818"/>
                    </a:cubicBezTo>
                    <a:cubicBezTo>
                      <a:pt x="4607338" y="5791772"/>
                      <a:pt x="4616196" y="5800535"/>
                      <a:pt x="4627055" y="5800535"/>
                    </a:cubicBezTo>
                    <a:lnTo>
                      <a:pt x="4804410" y="5800535"/>
                    </a:lnTo>
                    <a:lnTo>
                      <a:pt x="4806315" y="5800535"/>
                    </a:lnTo>
                    <a:cubicBezTo>
                      <a:pt x="4817269" y="5800535"/>
                      <a:pt x="4826032" y="5791677"/>
                      <a:pt x="4826032" y="5780818"/>
                    </a:cubicBezTo>
                    <a:cubicBezTo>
                      <a:pt x="4826127" y="5769959"/>
                      <a:pt x="4817269" y="5761101"/>
                      <a:pt x="4806410" y="5761101"/>
                    </a:cubicBezTo>
                    <a:close/>
                    <a:moveTo>
                      <a:pt x="4335971" y="19717"/>
                    </a:moveTo>
                    <a:cubicBezTo>
                      <a:pt x="4335971" y="8763"/>
                      <a:pt x="4327113" y="0"/>
                      <a:pt x="4316254" y="0"/>
                    </a:cubicBezTo>
                    <a:lnTo>
                      <a:pt x="4139184" y="0"/>
                    </a:lnTo>
                    <a:cubicBezTo>
                      <a:pt x="4128230" y="0"/>
                      <a:pt x="4119467" y="8858"/>
                      <a:pt x="4119467" y="19717"/>
                    </a:cubicBezTo>
                    <a:cubicBezTo>
                      <a:pt x="4119467" y="30670"/>
                      <a:pt x="4128326" y="39434"/>
                      <a:pt x="4139184" y="39434"/>
                    </a:cubicBezTo>
                    <a:lnTo>
                      <a:pt x="4316254" y="39434"/>
                    </a:lnTo>
                    <a:cubicBezTo>
                      <a:pt x="4327113" y="39434"/>
                      <a:pt x="4335971" y="30670"/>
                      <a:pt x="4335971" y="19717"/>
                    </a:cubicBezTo>
                    <a:close/>
                    <a:moveTo>
                      <a:pt x="5126927" y="5658422"/>
                    </a:moveTo>
                    <a:cubicBezTo>
                      <a:pt x="5080159" y="5691569"/>
                      <a:pt x="5028914" y="5717191"/>
                      <a:pt x="4974622" y="5734622"/>
                    </a:cubicBezTo>
                    <a:cubicBezTo>
                      <a:pt x="4964240" y="5737956"/>
                      <a:pt x="4958525" y="5749100"/>
                      <a:pt x="4961858" y="5759482"/>
                    </a:cubicBezTo>
                    <a:cubicBezTo>
                      <a:pt x="4964526" y="5767864"/>
                      <a:pt x="4972336" y="5773198"/>
                      <a:pt x="4980718" y="5773198"/>
                    </a:cubicBezTo>
                    <a:cubicBezTo>
                      <a:pt x="4982718" y="5773198"/>
                      <a:pt x="4984719" y="5772912"/>
                      <a:pt x="4986719" y="5772245"/>
                    </a:cubicBezTo>
                    <a:cubicBezTo>
                      <a:pt x="5044917" y="5753577"/>
                      <a:pt x="5099876" y="5726145"/>
                      <a:pt x="5149882" y="5690616"/>
                    </a:cubicBezTo>
                    <a:cubicBezTo>
                      <a:pt x="5158740" y="5684330"/>
                      <a:pt x="5160931" y="5671947"/>
                      <a:pt x="5154549" y="5663089"/>
                    </a:cubicBezTo>
                    <a:cubicBezTo>
                      <a:pt x="5148167" y="5654231"/>
                      <a:pt x="5135785" y="5652135"/>
                      <a:pt x="5126927" y="5658422"/>
                    </a:cubicBezTo>
                    <a:close/>
                    <a:moveTo>
                      <a:pt x="4690206" y="19717"/>
                    </a:moveTo>
                    <a:cubicBezTo>
                      <a:pt x="4690206" y="8763"/>
                      <a:pt x="4681347" y="0"/>
                      <a:pt x="4670489" y="0"/>
                    </a:cubicBezTo>
                    <a:lnTo>
                      <a:pt x="4493419" y="0"/>
                    </a:lnTo>
                    <a:cubicBezTo>
                      <a:pt x="4482465" y="0"/>
                      <a:pt x="4473702" y="8858"/>
                      <a:pt x="4473702" y="19717"/>
                    </a:cubicBezTo>
                    <a:cubicBezTo>
                      <a:pt x="4473702" y="30670"/>
                      <a:pt x="4482560" y="39434"/>
                      <a:pt x="4493419" y="39434"/>
                    </a:cubicBezTo>
                    <a:lnTo>
                      <a:pt x="4670489" y="39434"/>
                    </a:lnTo>
                    <a:cubicBezTo>
                      <a:pt x="4681347" y="39434"/>
                      <a:pt x="4690206" y="30670"/>
                      <a:pt x="4690206" y="19717"/>
                    </a:cubicBezTo>
                    <a:close/>
                    <a:moveTo>
                      <a:pt x="4449890" y="5761101"/>
                    </a:moveTo>
                    <a:lnTo>
                      <a:pt x="4272820" y="5761101"/>
                    </a:lnTo>
                    <a:cubicBezTo>
                      <a:pt x="4261866" y="5761101"/>
                      <a:pt x="4253103" y="5769959"/>
                      <a:pt x="4253103" y="5780818"/>
                    </a:cubicBezTo>
                    <a:cubicBezTo>
                      <a:pt x="4253103" y="5791772"/>
                      <a:pt x="4261962" y="5800535"/>
                      <a:pt x="4272820" y="5800535"/>
                    </a:cubicBezTo>
                    <a:lnTo>
                      <a:pt x="4449890" y="5800535"/>
                    </a:lnTo>
                    <a:cubicBezTo>
                      <a:pt x="4460843" y="5800535"/>
                      <a:pt x="4469606" y="5791677"/>
                      <a:pt x="4469606" y="5780818"/>
                    </a:cubicBezTo>
                    <a:cubicBezTo>
                      <a:pt x="4469702" y="5769959"/>
                      <a:pt x="4460843" y="5761101"/>
                      <a:pt x="4449890" y="5761101"/>
                    </a:cubicBez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446"/>
                <a:endParaRPr lang="en-GB">
                  <a:solidFill>
                    <a:srgbClr val="000000"/>
                  </a:solidFill>
                  <a:latin typeface="Novo Apply Sans"/>
                </a:endParaRPr>
              </a:p>
            </p:txBody>
          </p:sp>
          <p:grpSp>
            <p:nvGrpSpPr>
              <p:cNvPr id="65" name="Graphic 383">
                <a:extLst>
                  <a:ext uri="{FF2B5EF4-FFF2-40B4-BE49-F238E27FC236}">
                    <a16:creationId xmlns:a16="http://schemas.microsoft.com/office/drawing/2014/main" id="{8D697815-D619-487F-B2BB-6A229909AE13}"/>
                  </a:ext>
                </a:extLst>
              </p:cNvPr>
              <p:cNvGrpSpPr/>
              <p:nvPr/>
            </p:nvGrpSpPr>
            <p:grpSpPr>
              <a:xfrm>
                <a:off x="15367155" y="4343400"/>
                <a:ext cx="665705" cy="1692866"/>
                <a:chOff x="9961530" y="2185987"/>
                <a:chExt cx="2327719" cy="5919311"/>
              </a:xfrm>
              <a:solidFill>
                <a:srgbClr val="FBB03B"/>
              </a:solidFill>
            </p:grpSpPr>
            <p:sp>
              <p:nvSpPr>
                <p:cNvPr id="66" name="Freeform: Shape 65">
                  <a:extLst>
                    <a:ext uri="{FF2B5EF4-FFF2-40B4-BE49-F238E27FC236}">
                      <a16:creationId xmlns:a16="http://schemas.microsoft.com/office/drawing/2014/main" id="{21011C62-0099-483D-A7BB-8E082C848120}"/>
                    </a:ext>
                  </a:extLst>
                </p:cNvPr>
                <p:cNvSpPr/>
                <p:nvPr/>
              </p:nvSpPr>
              <p:spPr>
                <a:xfrm>
                  <a:off x="9961530" y="2185987"/>
                  <a:ext cx="1500473" cy="5919311"/>
                </a:xfrm>
                <a:custGeom>
                  <a:avLst/>
                  <a:gdLst>
                    <a:gd name="connsiteX0" fmla="*/ 843344 w 1500473"/>
                    <a:gd name="connsiteY0" fmla="*/ 5919312 h 5919311"/>
                    <a:gd name="connsiteX1" fmla="*/ 0 w 1500473"/>
                    <a:gd name="connsiteY1" fmla="*/ 5919312 h 5919311"/>
                    <a:gd name="connsiteX2" fmla="*/ 0 w 1500473"/>
                    <a:gd name="connsiteY2" fmla="*/ 5761196 h 5919311"/>
                    <a:gd name="connsiteX3" fmla="*/ 843344 w 1500473"/>
                    <a:gd name="connsiteY3" fmla="*/ 5761196 h 5919311"/>
                    <a:gd name="connsiteX4" fmla="*/ 1342359 w 1500473"/>
                    <a:gd name="connsiteY4" fmla="*/ 5262182 h 5919311"/>
                    <a:gd name="connsiteX5" fmla="*/ 1342359 w 1500473"/>
                    <a:gd name="connsiteY5" fmla="*/ 657130 h 5919311"/>
                    <a:gd name="connsiteX6" fmla="*/ 843344 w 1500473"/>
                    <a:gd name="connsiteY6" fmla="*/ 158020 h 5919311"/>
                    <a:gd name="connsiteX7" fmla="*/ 3239 w 1500473"/>
                    <a:gd name="connsiteY7" fmla="*/ 158020 h 5919311"/>
                    <a:gd name="connsiteX8" fmla="*/ 3239 w 1500473"/>
                    <a:gd name="connsiteY8" fmla="*/ 0 h 5919311"/>
                    <a:gd name="connsiteX9" fmla="*/ 843344 w 1500473"/>
                    <a:gd name="connsiteY9" fmla="*/ 0 h 5919311"/>
                    <a:gd name="connsiteX10" fmla="*/ 1500473 w 1500473"/>
                    <a:gd name="connsiteY10" fmla="*/ 657130 h 5919311"/>
                    <a:gd name="connsiteX11" fmla="*/ 1500473 w 1500473"/>
                    <a:gd name="connsiteY11" fmla="*/ 5262087 h 5919311"/>
                    <a:gd name="connsiteX12" fmla="*/ 843344 w 1500473"/>
                    <a:gd name="connsiteY12" fmla="*/ 5919312 h 59193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500473" h="5919311">
                      <a:moveTo>
                        <a:pt x="843344" y="5919312"/>
                      </a:moveTo>
                      <a:lnTo>
                        <a:pt x="0" y="5919312"/>
                      </a:lnTo>
                      <a:lnTo>
                        <a:pt x="0" y="5761196"/>
                      </a:lnTo>
                      <a:lnTo>
                        <a:pt x="843344" y="5761196"/>
                      </a:lnTo>
                      <a:cubicBezTo>
                        <a:pt x="1118521" y="5761196"/>
                        <a:pt x="1342359" y="5537359"/>
                        <a:pt x="1342359" y="5262182"/>
                      </a:cubicBezTo>
                      <a:lnTo>
                        <a:pt x="1342359" y="657130"/>
                      </a:lnTo>
                      <a:cubicBezTo>
                        <a:pt x="1342359" y="381953"/>
                        <a:pt x="1118521" y="158020"/>
                        <a:pt x="843344" y="158020"/>
                      </a:cubicBezTo>
                      <a:lnTo>
                        <a:pt x="3239" y="158020"/>
                      </a:lnTo>
                      <a:lnTo>
                        <a:pt x="3239" y="0"/>
                      </a:lnTo>
                      <a:lnTo>
                        <a:pt x="843344" y="0"/>
                      </a:lnTo>
                      <a:cubicBezTo>
                        <a:pt x="1205674" y="0"/>
                        <a:pt x="1500473" y="294799"/>
                        <a:pt x="1500473" y="657130"/>
                      </a:cubicBezTo>
                      <a:lnTo>
                        <a:pt x="1500473" y="5262087"/>
                      </a:lnTo>
                      <a:cubicBezTo>
                        <a:pt x="1500569" y="5624513"/>
                        <a:pt x="1205770" y="5919312"/>
                        <a:pt x="843344" y="5919312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914446"/>
                  <a:endParaRPr lang="en-GB">
                    <a:solidFill>
                      <a:srgbClr val="000000"/>
                    </a:solidFill>
                    <a:latin typeface="Novo Apply Sans"/>
                  </a:endParaRPr>
                </a:p>
              </p:txBody>
            </p:sp>
            <p:sp>
              <p:nvSpPr>
                <p:cNvPr id="67" name="Freeform: Shape 66">
                  <a:extLst>
                    <a:ext uri="{FF2B5EF4-FFF2-40B4-BE49-F238E27FC236}">
                      <a16:creationId xmlns:a16="http://schemas.microsoft.com/office/drawing/2014/main" id="{F9262732-8F9C-434F-B646-67C0168D3DA5}"/>
                    </a:ext>
                  </a:extLst>
                </p:cNvPr>
                <p:cNvSpPr/>
                <p:nvPr/>
              </p:nvSpPr>
              <p:spPr>
                <a:xfrm>
                  <a:off x="11775852" y="4835842"/>
                  <a:ext cx="513397" cy="621315"/>
                </a:xfrm>
                <a:custGeom>
                  <a:avLst/>
                  <a:gdLst>
                    <a:gd name="connsiteX0" fmla="*/ 513398 w 513397"/>
                    <a:gd name="connsiteY0" fmla="*/ 310610 h 621315"/>
                    <a:gd name="connsiteX1" fmla="*/ 0 w 513397"/>
                    <a:gd name="connsiteY1" fmla="*/ 0 h 621315"/>
                    <a:gd name="connsiteX2" fmla="*/ 0 w 513397"/>
                    <a:gd name="connsiteY2" fmla="*/ 621316 h 6213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13397" h="621315">
                      <a:moveTo>
                        <a:pt x="513398" y="310610"/>
                      </a:moveTo>
                      <a:lnTo>
                        <a:pt x="0" y="0"/>
                      </a:lnTo>
                      <a:lnTo>
                        <a:pt x="0" y="62131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914446"/>
                  <a:endParaRPr lang="en-GB">
                    <a:solidFill>
                      <a:srgbClr val="000000"/>
                    </a:solidFill>
                    <a:latin typeface="Novo Apply Sans"/>
                  </a:endParaRPr>
                </a:p>
              </p:txBody>
            </p:sp>
            <p:sp>
              <p:nvSpPr>
                <p:cNvPr id="68" name="Freeform: Shape 67">
                  <a:extLst>
                    <a:ext uri="{FF2B5EF4-FFF2-40B4-BE49-F238E27FC236}">
                      <a16:creationId xmlns:a16="http://schemas.microsoft.com/office/drawing/2014/main" id="{BF4270F2-8455-4077-BD2F-166A608ECDC3}"/>
                    </a:ext>
                  </a:extLst>
                </p:cNvPr>
                <p:cNvSpPr/>
                <p:nvPr/>
              </p:nvSpPr>
              <p:spPr>
                <a:xfrm>
                  <a:off x="11329701" y="5041296"/>
                  <a:ext cx="740092" cy="210311"/>
                </a:xfrm>
                <a:custGeom>
                  <a:avLst/>
                  <a:gdLst>
                    <a:gd name="connsiteX0" fmla="*/ 0 w 740092"/>
                    <a:gd name="connsiteY0" fmla="*/ 0 h 210311"/>
                    <a:gd name="connsiteX1" fmla="*/ 740092 w 740092"/>
                    <a:gd name="connsiteY1" fmla="*/ 0 h 210311"/>
                    <a:gd name="connsiteX2" fmla="*/ 740092 w 740092"/>
                    <a:gd name="connsiteY2" fmla="*/ 210312 h 210311"/>
                    <a:gd name="connsiteX3" fmla="*/ 0 w 740092"/>
                    <a:gd name="connsiteY3" fmla="*/ 210312 h 2103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40092" h="210311">
                      <a:moveTo>
                        <a:pt x="0" y="0"/>
                      </a:moveTo>
                      <a:lnTo>
                        <a:pt x="740092" y="0"/>
                      </a:lnTo>
                      <a:lnTo>
                        <a:pt x="740092" y="210312"/>
                      </a:lnTo>
                      <a:lnTo>
                        <a:pt x="0" y="21031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914446"/>
                  <a:endParaRPr lang="en-GB">
                    <a:solidFill>
                      <a:srgbClr val="000000"/>
                    </a:solidFill>
                    <a:latin typeface="Novo Apply Sans"/>
                  </a:endParaRPr>
                </a:p>
              </p:txBody>
            </p:sp>
          </p:grpSp>
        </p:grpSp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BA9C40BD-DE7F-42E2-B96D-2615A22A9D30}"/>
                </a:ext>
              </a:extLst>
            </p:cNvPr>
            <p:cNvSpPr>
              <a:spLocks/>
            </p:cNvSpPr>
            <p:nvPr/>
          </p:nvSpPr>
          <p:spPr>
            <a:xfrm>
              <a:off x="14417966" y="5283150"/>
              <a:ext cx="1440923" cy="9258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914446">
                <a:lnSpc>
                  <a:spcPts val="1400"/>
                </a:lnSpc>
              </a:pPr>
              <a:r>
                <a:rPr lang="en-GB" sz="1067" b="1" dirty="0">
                  <a:solidFill>
                    <a:srgbClr val="001965"/>
                  </a:solidFill>
                  <a:latin typeface="Novo Apply Sans" panose="020F0502020204030204" pitchFamily="34" charset="0"/>
                </a:rPr>
                <a:t>Growth Investments</a:t>
              </a:r>
            </a:p>
          </p:txBody>
        </p:sp>
        <p:grpSp>
          <p:nvGrpSpPr>
            <p:cNvPr id="108" name="Group 107">
              <a:extLst>
                <a:ext uri="{FF2B5EF4-FFF2-40B4-BE49-F238E27FC236}">
                  <a16:creationId xmlns:a16="http://schemas.microsoft.com/office/drawing/2014/main" id="{2F092908-4B9D-499F-8CA5-601685CEDC7D}"/>
                </a:ext>
              </a:extLst>
            </p:cNvPr>
            <p:cNvGrpSpPr/>
            <p:nvPr/>
          </p:nvGrpSpPr>
          <p:grpSpPr>
            <a:xfrm>
              <a:off x="14842172" y="4490677"/>
              <a:ext cx="665988" cy="665988"/>
              <a:chOff x="12924659" y="3380382"/>
              <a:chExt cx="665988" cy="665988"/>
            </a:xfrm>
          </p:grpSpPr>
          <p:grpSp>
            <p:nvGrpSpPr>
              <p:cNvPr id="87" name="Graphic 85">
                <a:extLst>
                  <a:ext uri="{FF2B5EF4-FFF2-40B4-BE49-F238E27FC236}">
                    <a16:creationId xmlns:a16="http://schemas.microsoft.com/office/drawing/2014/main" id="{8603F476-804D-413F-9FFB-ACA9499214F5}"/>
                  </a:ext>
                </a:extLst>
              </p:cNvPr>
              <p:cNvGrpSpPr/>
              <p:nvPr/>
            </p:nvGrpSpPr>
            <p:grpSpPr>
              <a:xfrm>
                <a:off x="12924659" y="3380382"/>
                <a:ext cx="665988" cy="665988"/>
                <a:chOff x="13951592" y="3133824"/>
                <a:chExt cx="665988" cy="665988"/>
              </a:xfrm>
            </p:grpSpPr>
            <p:sp>
              <p:nvSpPr>
                <p:cNvPr id="88" name="Freeform: Shape 87">
                  <a:extLst>
                    <a:ext uri="{FF2B5EF4-FFF2-40B4-BE49-F238E27FC236}">
                      <a16:creationId xmlns:a16="http://schemas.microsoft.com/office/drawing/2014/main" id="{28D079C1-AF77-4CB5-95B5-25D927C3B573}"/>
                    </a:ext>
                  </a:extLst>
                </p:cNvPr>
                <p:cNvSpPr/>
                <p:nvPr/>
              </p:nvSpPr>
              <p:spPr>
                <a:xfrm>
                  <a:off x="14403708" y="3346740"/>
                  <a:ext cx="35" cy="1525"/>
                </a:xfrm>
                <a:custGeom>
                  <a:avLst/>
                  <a:gdLst>
                    <a:gd name="connsiteX0" fmla="*/ -757 w 35"/>
                    <a:gd name="connsiteY0" fmla="*/ -959 h 1525"/>
                    <a:gd name="connsiteX1" fmla="*/ -757 w 35"/>
                    <a:gd name="connsiteY1" fmla="*/ -959 h 1525"/>
                    <a:gd name="connsiteX2" fmla="*/ -757 w 35"/>
                    <a:gd name="connsiteY2" fmla="*/ -2485 h 1525"/>
                    <a:gd name="connsiteX3" fmla="*/ -757 w 35"/>
                    <a:gd name="connsiteY3" fmla="*/ -1057 h 1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5" h="1525">
                      <a:moveTo>
                        <a:pt x="-757" y="-959"/>
                      </a:moveTo>
                      <a:lnTo>
                        <a:pt x="-757" y="-959"/>
                      </a:lnTo>
                      <a:lnTo>
                        <a:pt x="-757" y="-2485"/>
                      </a:lnTo>
                      <a:cubicBezTo>
                        <a:pt x="-804" y="-2010"/>
                        <a:pt x="-804" y="-1531"/>
                        <a:pt x="-757" y="-1057"/>
                      </a:cubicBezTo>
                    </a:path>
                  </a:pathLst>
                </a:custGeom>
                <a:solidFill>
                  <a:srgbClr val="25275B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914446"/>
                  <a:endParaRPr lang="en-GB">
                    <a:solidFill>
                      <a:srgbClr val="000000"/>
                    </a:solidFill>
                    <a:latin typeface="Novo Apply Sans"/>
                  </a:endParaRPr>
                </a:p>
              </p:txBody>
            </p:sp>
            <p:sp>
              <p:nvSpPr>
                <p:cNvPr id="89" name="Freeform: Shape 88">
                  <a:extLst>
                    <a:ext uri="{FF2B5EF4-FFF2-40B4-BE49-F238E27FC236}">
                      <a16:creationId xmlns:a16="http://schemas.microsoft.com/office/drawing/2014/main" id="{BF76C9B7-CD13-4C46-8A52-9750C91B2C5C}"/>
                    </a:ext>
                  </a:extLst>
                </p:cNvPr>
                <p:cNvSpPr/>
                <p:nvPr/>
              </p:nvSpPr>
              <p:spPr>
                <a:xfrm>
                  <a:off x="14403613" y="3346835"/>
                  <a:ext cx="35" cy="1525"/>
                </a:xfrm>
                <a:custGeom>
                  <a:avLst/>
                  <a:gdLst>
                    <a:gd name="connsiteX0" fmla="*/ -757 w 35"/>
                    <a:gd name="connsiteY0" fmla="*/ -2485 h 1525"/>
                    <a:gd name="connsiteX1" fmla="*/ -757 w 35"/>
                    <a:gd name="connsiteY1" fmla="*/ -959 h 1525"/>
                    <a:gd name="connsiteX2" fmla="*/ -757 w 35"/>
                    <a:gd name="connsiteY2" fmla="*/ -959 h 1525"/>
                    <a:gd name="connsiteX3" fmla="*/ -757 w 35"/>
                    <a:gd name="connsiteY3" fmla="*/ -2387 h 1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5" h="1525">
                      <a:moveTo>
                        <a:pt x="-757" y="-2485"/>
                      </a:moveTo>
                      <a:lnTo>
                        <a:pt x="-757" y="-959"/>
                      </a:lnTo>
                      <a:lnTo>
                        <a:pt x="-757" y="-959"/>
                      </a:lnTo>
                      <a:cubicBezTo>
                        <a:pt x="-804" y="-1434"/>
                        <a:pt x="-804" y="-1913"/>
                        <a:pt x="-757" y="-2387"/>
                      </a:cubicBezTo>
                    </a:path>
                  </a:pathLst>
                </a:custGeom>
                <a:solidFill>
                  <a:srgbClr val="25275B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914446"/>
                  <a:endParaRPr lang="en-GB">
                    <a:solidFill>
                      <a:srgbClr val="000000"/>
                    </a:solidFill>
                    <a:latin typeface="Novo Apply Sans"/>
                  </a:endParaRPr>
                </a:p>
              </p:txBody>
            </p:sp>
            <p:sp>
              <p:nvSpPr>
                <p:cNvPr id="90" name="Freeform: Shape 89">
                  <a:extLst>
                    <a:ext uri="{FF2B5EF4-FFF2-40B4-BE49-F238E27FC236}">
                      <a16:creationId xmlns:a16="http://schemas.microsoft.com/office/drawing/2014/main" id="{AD683988-BDDC-47B4-861A-AEC4F4346563}"/>
                    </a:ext>
                  </a:extLst>
                </p:cNvPr>
                <p:cNvSpPr/>
                <p:nvPr/>
              </p:nvSpPr>
              <p:spPr>
                <a:xfrm>
                  <a:off x="13951592" y="3133824"/>
                  <a:ext cx="665988" cy="665988"/>
                </a:xfrm>
                <a:custGeom>
                  <a:avLst/>
                  <a:gdLst>
                    <a:gd name="connsiteX0" fmla="*/ 665988 w 665988"/>
                    <a:gd name="connsiteY0" fmla="*/ 332994 h 665988"/>
                    <a:gd name="connsiteX1" fmla="*/ 332994 w 665988"/>
                    <a:gd name="connsiteY1" fmla="*/ 665988 h 665988"/>
                    <a:gd name="connsiteX2" fmla="*/ 0 w 665988"/>
                    <a:gd name="connsiteY2" fmla="*/ 332994 h 665988"/>
                    <a:gd name="connsiteX3" fmla="*/ 332994 w 665988"/>
                    <a:gd name="connsiteY3" fmla="*/ 0 h 665988"/>
                    <a:gd name="connsiteX4" fmla="*/ 665988 w 665988"/>
                    <a:gd name="connsiteY4" fmla="*/ 332994 h 6659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65988" h="665988">
                      <a:moveTo>
                        <a:pt x="665988" y="332994"/>
                      </a:moveTo>
                      <a:cubicBezTo>
                        <a:pt x="665988" y="516902"/>
                        <a:pt x="516901" y="665988"/>
                        <a:pt x="332994" y="665988"/>
                      </a:cubicBezTo>
                      <a:cubicBezTo>
                        <a:pt x="149086" y="665988"/>
                        <a:pt x="0" y="516901"/>
                        <a:pt x="0" y="332994"/>
                      </a:cubicBezTo>
                      <a:cubicBezTo>
                        <a:pt x="0" y="149086"/>
                        <a:pt x="149086" y="0"/>
                        <a:pt x="332994" y="0"/>
                      </a:cubicBezTo>
                      <a:cubicBezTo>
                        <a:pt x="516902" y="0"/>
                        <a:pt x="665988" y="149086"/>
                        <a:pt x="665988" y="332994"/>
                      </a:cubicBezTo>
                      <a:close/>
                    </a:path>
                  </a:pathLst>
                </a:custGeom>
                <a:noFill/>
                <a:ln w="9525" cap="rnd">
                  <a:solidFill>
                    <a:srgbClr val="624292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defTabSz="914446"/>
                  <a:endParaRPr lang="en-GB">
                    <a:solidFill>
                      <a:srgbClr val="000000"/>
                    </a:solidFill>
                    <a:latin typeface="Novo Apply Sans"/>
                  </a:endParaRPr>
                </a:p>
              </p:txBody>
            </p:sp>
            <p:sp>
              <p:nvSpPr>
                <p:cNvPr id="92" name="Freeform: Shape 91">
                  <a:extLst>
                    <a:ext uri="{FF2B5EF4-FFF2-40B4-BE49-F238E27FC236}">
                      <a16:creationId xmlns:a16="http://schemas.microsoft.com/office/drawing/2014/main" id="{3DF67759-8D39-493C-8FEF-2FC988D28242}"/>
                    </a:ext>
                  </a:extLst>
                </p:cNvPr>
                <p:cNvSpPr/>
                <p:nvPr/>
              </p:nvSpPr>
              <p:spPr>
                <a:xfrm>
                  <a:off x="14101896" y="3466065"/>
                  <a:ext cx="345281" cy="164962"/>
                </a:xfrm>
                <a:custGeom>
                  <a:avLst/>
                  <a:gdLst>
                    <a:gd name="connsiteX0" fmla="*/ 235142 w 345281"/>
                    <a:gd name="connsiteY0" fmla="*/ 42369 h 164962"/>
                    <a:gd name="connsiteX1" fmla="*/ 289911 w 345281"/>
                    <a:gd name="connsiteY1" fmla="*/ 27033 h 164962"/>
                    <a:gd name="connsiteX2" fmla="*/ 302960 w 345281"/>
                    <a:gd name="connsiteY2" fmla="*/ 21222 h 164962"/>
                    <a:gd name="connsiteX3" fmla="*/ 341717 w 345281"/>
                    <a:gd name="connsiteY3" fmla="*/ 29365 h 164962"/>
                    <a:gd name="connsiteX4" fmla="*/ 344489 w 345281"/>
                    <a:gd name="connsiteY4" fmla="*/ 34844 h 164962"/>
                    <a:gd name="connsiteX5" fmla="*/ 329725 w 345281"/>
                    <a:gd name="connsiteY5" fmla="*/ 45322 h 164962"/>
                    <a:gd name="connsiteX6" fmla="*/ 321152 w 345281"/>
                    <a:gd name="connsiteY6" fmla="*/ 50845 h 164962"/>
                    <a:gd name="connsiteX7" fmla="*/ 271146 w 345281"/>
                    <a:gd name="connsiteY7" fmla="*/ 81423 h 164962"/>
                    <a:gd name="connsiteX8" fmla="*/ 211139 w 345281"/>
                    <a:gd name="connsiteY8" fmla="*/ 103328 h 164962"/>
                    <a:gd name="connsiteX9" fmla="*/ 121699 w 345281"/>
                    <a:gd name="connsiteY9" fmla="*/ 105900 h 164962"/>
                    <a:gd name="connsiteX10" fmla="*/ 95220 w 345281"/>
                    <a:gd name="connsiteY10" fmla="*/ 123522 h 164962"/>
                    <a:gd name="connsiteX11" fmla="*/ 121699 w 345281"/>
                    <a:gd name="connsiteY11" fmla="*/ 105900 h 164962"/>
                    <a:gd name="connsiteX12" fmla="*/ 211139 w 345281"/>
                    <a:gd name="connsiteY12" fmla="*/ 103328 h 164962"/>
                    <a:gd name="connsiteX13" fmla="*/ 271146 w 345281"/>
                    <a:gd name="connsiteY13" fmla="*/ 81423 h 164962"/>
                    <a:gd name="connsiteX14" fmla="*/ 321152 w 345281"/>
                    <a:gd name="connsiteY14" fmla="*/ 50845 h 164962"/>
                    <a:gd name="connsiteX15" fmla="*/ 329725 w 345281"/>
                    <a:gd name="connsiteY15" fmla="*/ 45322 h 164962"/>
                    <a:gd name="connsiteX16" fmla="*/ 344489 w 345281"/>
                    <a:gd name="connsiteY16" fmla="*/ 34844 h 164962"/>
                    <a:gd name="connsiteX17" fmla="*/ 308438 w 345281"/>
                    <a:gd name="connsiteY17" fmla="*/ 18452 h 164962"/>
                    <a:gd name="connsiteX18" fmla="*/ 302960 w 345281"/>
                    <a:gd name="connsiteY18" fmla="*/ 21224 h 164962"/>
                    <a:gd name="connsiteX19" fmla="*/ 289911 w 345281"/>
                    <a:gd name="connsiteY19" fmla="*/ 27035 h 164962"/>
                    <a:gd name="connsiteX20" fmla="*/ 235142 w 345281"/>
                    <a:gd name="connsiteY20" fmla="*/ 42371 h 164962"/>
                    <a:gd name="connsiteX21" fmla="*/ 45214 w 345281"/>
                    <a:gd name="connsiteY21" fmla="*/ 46941 h 164962"/>
                    <a:gd name="connsiteX22" fmla="*/ 58263 w 345281"/>
                    <a:gd name="connsiteY22" fmla="*/ 38179 h 164962"/>
                    <a:gd name="connsiteX23" fmla="*/ 80075 w 345281"/>
                    <a:gd name="connsiteY23" fmla="*/ 18175 h 164962"/>
                    <a:gd name="connsiteX24" fmla="*/ 165800 w 345281"/>
                    <a:gd name="connsiteY24" fmla="*/ 10173 h 164962"/>
                    <a:gd name="connsiteX25" fmla="*/ 178849 w 345281"/>
                    <a:gd name="connsiteY25" fmla="*/ 12459 h 164962"/>
                    <a:gd name="connsiteX26" fmla="*/ 214187 w 345281"/>
                    <a:gd name="connsiteY26" fmla="*/ 11985 h 164962"/>
                    <a:gd name="connsiteX27" fmla="*/ 235697 w 345281"/>
                    <a:gd name="connsiteY27" fmla="*/ 34095 h 164962"/>
                    <a:gd name="connsiteX28" fmla="*/ 215901 w 345281"/>
                    <a:gd name="connsiteY28" fmla="*/ 55515 h 164962"/>
                    <a:gd name="connsiteX29" fmla="*/ 172372 w 345281"/>
                    <a:gd name="connsiteY29" fmla="*/ 57798 h 164962"/>
                    <a:gd name="connsiteX30" fmla="*/ 215901 w 345281"/>
                    <a:gd name="connsiteY30" fmla="*/ 55512 h 164962"/>
                    <a:gd name="connsiteX31" fmla="*/ 235607 w 345281"/>
                    <a:gd name="connsiteY31" fmla="*/ 31779 h 164962"/>
                    <a:gd name="connsiteX32" fmla="*/ 214187 w 345281"/>
                    <a:gd name="connsiteY32" fmla="*/ 11983 h 164962"/>
                    <a:gd name="connsiteX33" fmla="*/ 178849 w 345281"/>
                    <a:gd name="connsiteY33" fmla="*/ 12459 h 164962"/>
                    <a:gd name="connsiteX34" fmla="*/ 165800 w 345281"/>
                    <a:gd name="connsiteY34" fmla="*/ 10173 h 164962"/>
                    <a:gd name="connsiteX35" fmla="*/ 80075 w 345281"/>
                    <a:gd name="connsiteY35" fmla="*/ 18175 h 164962"/>
                    <a:gd name="connsiteX36" fmla="*/ 58263 w 345281"/>
                    <a:gd name="connsiteY36" fmla="*/ 38179 h 164962"/>
                    <a:gd name="connsiteX37" fmla="*/ 17305 w 345281"/>
                    <a:gd name="connsiteY37" fmla="*/ 81327 h 164962"/>
                    <a:gd name="connsiteX38" fmla="*/ 31307 w 345281"/>
                    <a:gd name="connsiteY38" fmla="*/ 71802 h 164962"/>
                    <a:gd name="connsiteX39" fmla="*/ -792 w 345281"/>
                    <a:gd name="connsiteY39" fmla="*/ 53608 h 164962"/>
                    <a:gd name="connsiteX40" fmla="*/ 34069 w 345281"/>
                    <a:gd name="connsiteY40" fmla="*/ 31130 h 164962"/>
                    <a:gd name="connsiteX41" fmla="*/ 105316 w 345281"/>
                    <a:gd name="connsiteY41" fmla="*/ 140000 h 164962"/>
                    <a:gd name="connsiteX42" fmla="*/ 70454 w 345281"/>
                    <a:gd name="connsiteY42" fmla="*/ 162478 h 164962"/>
                    <a:gd name="connsiteX43" fmla="*/ 105316 w 345281"/>
                    <a:gd name="connsiteY43" fmla="*/ 140000 h 164962"/>
                    <a:gd name="connsiteX44" fmla="*/ 34069 w 345281"/>
                    <a:gd name="connsiteY44" fmla="*/ 31130 h 1649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</a:cxnLst>
                  <a:rect l="l" t="t" r="r" b="b"/>
                  <a:pathLst>
                    <a:path w="345281" h="164962">
                      <a:moveTo>
                        <a:pt x="235142" y="42369"/>
                      </a:moveTo>
                      <a:cubicBezTo>
                        <a:pt x="253667" y="38269"/>
                        <a:pt x="271951" y="33151"/>
                        <a:pt x="289911" y="27033"/>
                      </a:cubicBezTo>
                      <a:cubicBezTo>
                        <a:pt x="294386" y="25389"/>
                        <a:pt x="298745" y="23449"/>
                        <a:pt x="302960" y="21222"/>
                      </a:cubicBezTo>
                      <a:cubicBezTo>
                        <a:pt x="315911" y="12769"/>
                        <a:pt x="333263" y="16413"/>
                        <a:pt x="341717" y="29365"/>
                      </a:cubicBezTo>
                      <a:cubicBezTo>
                        <a:pt x="342839" y="31084"/>
                        <a:pt x="343769" y="32921"/>
                        <a:pt x="344489" y="34844"/>
                      </a:cubicBezTo>
                      <a:cubicBezTo>
                        <a:pt x="339845" y="38711"/>
                        <a:pt x="334909" y="42216"/>
                        <a:pt x="329725" y="45322"/>
                      </a:cubicBezTo>
                      <a:lnTo>
                        <a:pt x="321152" y="50845"/>
                      </a:lnTo>
                      <a:cubicBezTo>
                        <a:pt x="306675" y="60370"/>
                        <a:pt x="286101" y="73039"/>
                        <a:pt x="271146" y="81423"/>
                      </a:cubicBezTo>
                      <a:cubicBezTo>
                        <a:pt x="243905" y="96756"/>
                        <a:pt x="239333" y="103328"/>
                        <a:pt x="211139" y="103328"/>
                      </a:cubicBezTo>
                      <a:lnTo>
                        <a:pt x="121699" y="105900"/>
                      </a:lnTo>
                      <a:lnTo>
                        <a:pt x="95220" y="123522"/>
                      </a:lnTo>
                      <a:lnTo>
                        <a:pt x="121699" y="105900"/>
                      </a:lnTo>
                      <a:lnTo>
                        <a:pt x="211139" y="103328"/>
                      </a:lnTo>
                      <a:cubicBezTo>
                        <a:pt x="239714" y="103328"/>
                        <a:pt x="243905" y="96756"/>
                        <a:pt x="271146" y="81423"/>
                      </a:cubicBezTo>
                      <a:cubicBezTo>
                        <a:pt x="286101" y="73039"/>
                        <a:pt x="306675" y="59991"/>
                        <a:pt x="321152" y="50845"/>
                      </a:cubicBezTo>
                      <a:lnTo>
                        <a:pt x="329725" y="45322"/>
                      </a:lnTo>
                      <a:cubicBezTo>
                        <a:pt x="334909" y="42216"/>
                        <a:pt x="339845" y="38713"/>
                        <a:pt x="344489" y="34844"/>
                      </a:cubicBezTo>
                      <a:cubicBezTo>
                        <a:pt x="339061" y="20361"/>
                        <a:pt x="322920" y="13022"/>
                        <a:pt x="308438" y="18452"/>
                      </a:cubicBezTo>
                      <a:cubicBezTo>
                        <a:pt x="306516" y="19173"/>
                        <a:pt x="304679" y="20103"/>
                        <a:pt x="302960" y="21224"/>
                      </a:cubicBezTo>
                      <a:cubicBezTo>
                        <a:pt x="298745" y="23449"/>
                        <a:pt x="294386" y="25391"/>
                        <a:pt x="289911" y="27035"/>
                      </a:cubicBezTo>
                      <a:cubicBezTo>
                        <a:pt x="271951" y="33151"/>
                        <a:pt x="253667" y="38272"/>
                        <a:pt x="235142" y="42371"/>
                      </a:cubicBezTo>
                      <a:close/>
                      <a:moveTo>
                        <a:pt x="45214" y="46941"/>
                      </a:moveTo>
                      <a:lnTo>
                        <a:pt x="58263" y="38179"/>
                      </a:lnTo>
                      <a:lnTo>
                        <a:pt x="80075" y="18175"/>
                      </a:lnTo>
                      <a:cubicBezTo>
                        <a:pt x="103316" y="-7542"/>
                        <a:pt x="145607" y="-8114"/>
                        <a:pt x="165800" y="10173"/>
                      </a:cubicBezTo>
                      <a:cubicBezTo>
                        <a:pt x="169863" y="12101"/>
                        <a:pt x="174372" y="12892"/>
                        <a:pt x="178849" y="12459"/>
                      </a:cubicBezTo>
                      <a:lnTo>
                        <a:pt x="214187" y="11985"/>
                      </a:lnTo>
                      <a:cubicBezTo>
                        <a:pt x="226232" y="12150"/>
                        <a:pt x="235863" y="22049"/>
                        <a:pt x="235697" y="34095"/>
                      </a:cubicBezTo>
                      <a:cubicBezTo>
                        <a:pt x="235544" y="45246"/>
                        <a:pt x="227005" y="54485"/>
                        <a:pt x="215901" y="55515"/>
                      </a:cubicBezTo>
                      <a:lnTo>
                        <a:pt x="172372" y="57798"/>
                      </a:lnTo>
                      <a:lnTo>
                        <a:pt x="215901" y="55512"/>
                      </a:lnTo>
                      <a:cubicBezTo>
                        <a:pt x="227897" y="54401"/>
                        <a:pt x="236719" y="43774"/>
                        <a:pt x="235607" y="31779"/>
                      </a:cubicBezTo>
                      <a:cubicBezTo>
                        <a:pt x="234577" y="20675"/>
                        <a:pt x="225337" y="12136"/>
                        <a:pt x="214187" y="11983"/>
                      </a:cubicBezTo>
                      <a:lnTo>
                        <a:pt x="178849" y="12459"/>
                      </a:lnTo>
                      <a:cubicBezTo>
                        <a:pt x="174372" y="12892"/>
                        <a:pt x="169863" y="12101"/>
                        <a:pt x="165800" y="10173"/>
                      </a:cubicBezTo>
                      <a:cubicBezTo>
                        <a:pt x="145321" y="-8114"/>
                        <a:pt x="103030" y="-7542"/>
                        <a:pt x="80075" y="18175"/>
                      </a:cubicBezTo>
                      <a:lnTo>
                        <a:pt x="58263" y="38179"/>
                      </a:lnTo>
                      <a:close/>
                      <a:moveTo>
                        <a:pt x="17305" y="81327"/>
                      </a:moveTo>
                      <a:lnTo>
                        <a:pt x="31307" y="71802"/>
                      </a:lnTo>
                      <a:close/>
                      <a:moveTo>
                        <a:pt x="-792" y="53608"/>
                      </a:moveTo>
                      <a:lnTo>
                        <a:pt x="34069" y="31130"/>
                      </a:lnTo>
                      <a:lnTo>
                        <a:pt x="105316" y="140000"/>
                      </a:lnTo>
                      <a:lnTo>
                        <a:pt x="70454" y="162478"/>
                      </a:lnTo>
                      <a:lnTo>
                        <a:pt x="105316" y="140000"/>
                      </a:lnTo>
                      <a:lnTo>
                        <a:pt x="34069" y="31130"/>
                      </a:lnTo>
                      <a:close/>
                    </a:path>
                  </a:pathLst>
                </a:custGeom>
                <a:noFill/>
                <a:ln w="9525" cap="rnd">
                  <a:solidFill>
                    <a:srgbClr val="2C3E6B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defTabSz="914446"/>
                  <a:endParaRPr lang="en-GB">
                    <a:solidFill>
                      <a:srgbClr val="000000"/>
                    </a:solidFill>
                    <a:latin typeface="Novo Apply Sans"/>
                  </a:endParaRPr>
                </a:p>
              </p:txBody>
            </p:sp>
          </p:grpSp>
          <p:cxnSp>
            <p:nvCxnSpPr>
              <p:cNvPr id="98" name="Straight Connector 97">
                <a:extLst>
                  <a:ext uri="{FF2B5EF4-FFF2-40B4-BE49-F238E27FC236}">
                    <a16:creationId xmlns:a16="http://schemas.microsoft.com/office/drawing/2014/main" id="{67770408-B737-44CA-8E1A-7EBA5FC2B4A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3247603" y="3637747"/>
                <a:ext cx="0" cy="74876"/>
              </a:xfrm>
              <a:prstGeom prst="line">
                <a:avLst/>
              </a:prstGeom>
              <a:ln w="12700">
                <a:solidFill>
                  <a:schemeClr val="accent4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FF2B5EF4-FFF2-40B4-BE49-F238E27FC236}">
                    <a16:creationId xmlns:a16="http://schemas.microsoft.com/office/drawing/2014/main" id="{B15E0856-E8EA-43E9-ACC3-D5A9E11D55A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3275030" y="3604418"/>
                <a:ext cx="0" cy="108205"/>
              </a:xfrm>
              <a:prstGeom prst="line">
                <a:avLst/>
              </a:prstGeom>
              <a:ln w="12700">
                <a:solidFill>
                  <a:schemeClr val="accent4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FF2B5EF4-FFF2-40B4-BE49-F238E27FC236}">
                    <a16:creationId xmlns:a16="http://schemas.microsoft.com/office/drawing/2014/main" id="{52B6BE5A-0989-4DCC-89BD-36E7570ECAE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3303604" y="3566318"/>
                <a:ext cx="0" cy="146305"/>
              </a:xfrm>
              <a:prstGeom prst="line">
                <a:avLst/>
              </a:prstGeom>
              <a:ln w="12700">
                <a:solidFill>
                  <a:schemeClr val="accent4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>
                <a:extLst>
                  <a:ext uri="{FF2B5EF4-FFF2-40B4-BE49-F238E27FC236}">
                    <a16:creationId xmlns:a16="http://schemas.microsoft.com/office/drawing/2014/main" id="{5DDF05B2-7057-4F74-8163-3EF99D83D47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3332180" y="3521074"/>
                <a:ext cx="0" cy="191549"/>
              </a:xfrm>
              <a:prstGeom prst="line">
                <a:avLst/>
              </a:prstGeom>
              <a:ln w="12700">
                <a:solidFill>
                  <a:schemeClr val="accent4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>
                <a:extLst>
                  <a:ext uri="{FF2B5EF4-FFF2-40B4-BE49-F238E27FC236}">
                    <a16:creationId xmlns:a16="http://schemas.microsoft.com/office/drawing/2014/main" id="{A7FD4528-E267-42BE-AA30-6B49BD66EC1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3360011" y="3485355"/>
                <a:ext cx="0" cy="227268"/>
              </a:xfrm>
              <a:prstGeom prst="line">
                <a:avLst/>
              </a:prstGeom>
              <a:ln w="12700">
                <a:solidFill>
                  <a:schemeClr val="accent4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55" name="Group 154">
            <a:extLst>
              <a:ext uri="{FF2B5EF4-FFF2-40B4-BE49-F238E27FC236}">
                <a16:creationId xmlns:a16="http://schemas.microsoft.com/office/drawing/2014/main" id="{8DFCBA1A-7DD7-4BE8-B413-6D73D7DDB69B}"/>
              </a:ext>
            </a:extLst>
          </p:cNvPr>
          <p:cNvGrpSpPr/>
          <p:nvPr/>
        </p:nvGrpSpPr>
        <p:grpSpPr>
          <a:xfrm>
            <a:off x="7468555" y="2784239"/>
            <a:ext cx="1435580" cy="1351299"/>
            <a:chOff x="12232053" y="4176359"/>
            <a:chExt cx="2153370" cy="2026948"/>
          </a:xfrm>
        </p:grpSpPr>
        <p:grpSp>
          <p:nvGrpSpPr>
            <p:cNvPr id="124" name="Group 123">
              <a:extLst>
                <a:ext uri="{FF2B5EF4-FFF2-40B4-BE49-F238E27FC236}">
                  <a16:creationId xmlns:a16="http://schemas.microsoft.com/office/drawing/2014/main" id="{6CA80322-42B2-4A65-8CA9-2B77184F5FFB}"/>
                </a:ext>
              </a:extLst>
            </p:cNvPr>
            <p:cNvGrpSpPr>
              <a:grpSpLocks/>
            </p:cNvGrpSpPr>
            <p:nvPr/>
          </p:nvGrpSpPr>
          <p:grpSpPr>
            <a:xfrm>
              <a:off x="12232053" y="4176359"/>
              <a:ext cx="2153370" cy="2026948"/>
              <a:chOff x="12277804" y="4343400"/>
              <a:chExt cx="1798450" cy="1692866"/>
            </a:xfrm>
          </p:grpSpPr>
          <p:sp>
            <p:nvSpPr>
              <p:cNvPr id="54" name="Freeform: Shape 53">
                <a:extLst>
                  <a:ext uri="{FF2B5EF4-FFF2-40B4-BE49-F238E27FC236}">
                    <a16:creationId xmlns:a16="http://schemas.microsoft.com/office/drawing/2014/main" id="{3845E823-2C3C-4245-9CCD-11DA45B77A68}"/>
                  </a:ext>
                </a:extLst>
              </p:cNvPr>
              <p:cNvSpPr/>
              <p:nvPr/>
            </p:nvSpPr>
            <p:spPr>
              <a:xfrm>
                <a:off x="12407660" y="4491916"/>
                <a:ext cx="1299213" cy="1395807"/>
              </a:xfrm>
              <a:custGeom>
                <a:avLst/>
                <a:gdLst>
                  <a:gd name="connsiteX0" fmla="*/ 3985641 w 4542853"/>
                  <a:gd name="connsiteY0" fmla="*/ 4880610 h 4880609"/>
                  <a:gd name="connsiteX1" fmla="*/ 557308 w 4542853"/>
                  <a:gd name="connsiteY1" fmla="*/ 4880610 h 4880609"/>
                  <a:gd name="connsiteX2" fmla="*/ 0 w 4542853"/>
                  <a:gd name="connsiteY2" fmla="*/ 4323303 h 4880609"/>
                  <a:gd name="connsiteX3" fmla="*/ 0 w 4542853"/>
                  <a:gd name="connsiteY3" fmla="*/ 557308 h 4880609"/>
                  <a:gd name="connsiteX4" fmla="*/ 557308 w 4542853"/>
                  <a:gd name="connsiteY4" fmla="*/ 0 h 4880609"/>
                  <a:gd name="connsiteX5" fmla="*/ 3985546 w 4542853"/>
                  <a:gd name="connsiteY5" fmla="*/ 0 h 4880609"/>
                  <a:gd name="connsiteX6" fmla="*/ 4542854 w 4542853"/>
                  <a:gd name="connsiteY6" fmla="*/ 557308 h 4880609"/>
                  <a:gd name="connsiteX7" fmla="*/ 4542854 w 4542853"/>
                  <a:gd name="connsiteY7" fmla="*/ 4323303 h 4880609"/>
                  <a:gd name="connsiteX8" fmla="*/ 3985641 w 4542853"/>
                  <a:gd name="connsiteY8" fmla="*/ 4880610 h 48806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42853" h="4880609">
                    <a:moveTo>
                      <a:pt x="3985641" y="4880610"/>
                    </a:moveTo>
                    <a:lnTo>
                      <a:pt x="557308" y="4880610"/>
                    </a:lnTo>
                    <a:cubicBezTo>
                      <a:pt x="249555" y="4880610"/>
                      <a:pt x="0" y="4631150"/>
                      <a:pt x="0" y="4323303"/>
                    </a:cubicBezTo>
                    <a:lnTo>
                      <a:pt x="0" y="557308"/>
                    </a:lnTo>
                    <a:cubicBezTo>
                      <a:pt x="0" y="249555"/>
                      <a:pt x="249460" y="0"/>
                      <a:pt x="557308" y="0"/>
                    </a:cubicBezTo>
                    <a:lnTo>
                      <a:pt x="3985546" y="0"/>
                    </a:lnTo>
                    <a:cubicBezTo>
                      <a:pt x="4293299" y="0"/>
                      <a:pt x="4542854" y="249460"/>
                      <a:pt x="4542854" y="557308"/>
                    </a:cubicBezTo>
                    <a:lnTo>
                      <a:pt x="4542854" y="4323303"/>
                    </a:lnTo>
                    <a:cubicBezTo>
                      <a:pt x="4542854" y="4631055"/>
                      <a:pt x="4293394" y="4880610"/>
                      <a:pt x="3985641" y="4880610"/>
                    </a:cubicBezTo>
                    <a:close/>
                  </a:path>
                </a:pathLst>
              </a:custGeom>
              <a:solidFill>
                <a:srgbClr val="CCCCC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446"/>
                <a:endParaRPr lang="en-GB">
                  <a:solidFill>
                    <a:srgbClr val="000000"/>
                  </a:solidFill>
                  <a:latin typeface="Novo Apply Sans"/>
                </a:endParaRPr>
              </a:p>
            </p:txBody>
          </p:sp>
          <p:sp>
            <p:nvSpPr>
              <p:cNvPr id="55" name="Freeform: Shape 54">
                <a:extLst>
                  <a:ext uri="{FF2B5EF4-FFF2-40B4-BE49-F238E27FC236}">
                    <a16:creationId xmlns:a16="http://schemas.microsoft.com/office/drawing/2014/main" id="{93BC8D03-6E2F-4B2B-8995-02634C15BF17}"/>
                  </a:ext>
                </a:extLst>
              </p:cNvPr>
              <p:cNvSpPr/>
              <p:nvPr/>
            </p:nvSpPr>
            <p:spPr>
              <a:xfrm>
                <a:off x="12407088" y="4498835"/>
                <a:ext cx="1286355" cy="1381969"/>
              </a:xfrm>
              <a:custGeom>
                <a:avLst/>
                <a:gdLst>
                  <a:gd name="connsiteX0" fmla="*/ 3940588 w 4497895"/>
                  <a:gd name="connsiteY0" fmla="*/ 4832223 h 4832223"/>
                  <a:gd name="connsiteX1" fmla="*/ 557308 w 4497895"/>
                  <a:gd name="connsiteY1" fmla="*/ 4832223 h 4832223"/>
                  <a:gd name="connsiteX2" fmla="*/ 0 w 4497895"/>
                  <a:gd name="connsiteY2" fmla="*/ 4274915 h 4832223"/>
                  <a:gd name="connsiteX3" fmla="*/ 0 w 4497895"/>
                  <a:gd name="connsiteY3" fmla="*/ 557308 h 4832223"/>
                  <a:gd name="connsiteX4" fmla="*/ 557308 w 4497895"/>
                  <a:gd name="connsiteY4" fmla="*/ 0 h 4832223"/>
                  <a:gd name="connsiteX5" fmla="*/ 3940588 w 4497895"/>
                  <a:gd name="connsiteY5" fmla="*/ 0 h 4832223"/>
                  <a:gd name="connsiteX6" fmla="*/ 4497896 w 4497895"/>
                  <a:gd name="connsiteY6" fmla="*/ 557308 h 4832223"/>
                  <a:gd name="connsiteX7" fmla="*/ 4497896 w 4497895"/>
                  <a:gd name="connsiteY7" fmla="*/ 4275011 h 4832223"/>
                  <a:gd name="connsiteX8" fmla="*/ 3940588 w 4497895"/>
                  <a:gd name="connsiteY8" fmla="*/ 4832223 h 48322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497895" h="4832223">
                    <a:moveTo>
                      <a:pt x="3940588" y="4832223"/>
                    </a:moveTo>
                    <a:lnTo>
                      <a:pt x="557308" y="4832223"/>
                    </a:lnTo>
                    <a:cubicBezTo>
                      <a:pt x="249555" y="4832223"/>
                      <a:pt x="0" y="4582764"/>
                      <a:pt x="0" y="4274915"/>
                    </a:cubicBezTo>
                    <a:lnTo>
                      <a:pt x="0" y="557308"/>
                    </a:lnTo>
                    <a:cubicBezTo>
                      <a:pt x="0" y="249555"/>
                      <a:pt x="249460" y="0"/>
                      <a:pt x="557308" y="0"/>
                    </a:cubicBezTo>
                    <a:lnTo>
                      <a:pt x="3940588" y="0"/>
                    </a:lnTo>
                    <a:cubicBezTo>
                      <a:pt x="4248341" y="0"/>
                      <a:pt x="4497896" y="249460"/>
                      <a:pt x="4497896" y="557308"/>
                    </a:cubicBezTo>
                    <a:lnTo>
                      <a:pt x="4497896" y="4275011"/>
                    </a:lnTo>
                    <a:cubicBezTo>
                      <a:pt x="4497896" y="4582764"/>
                      <a:pt x="4248341" y="4832223"/>
                      <a:pt x="3940588" y="4832223"/>
                    </a:cubicBezTo>
                    <a:close/>
                  </a:path>
                </a:pathLst>
              </a:custGeom>
              <a:solidFill>
                <a:srgbClr val="F2F2F2"/>
              </a:solidFill>
              <a:ln w="9525" cap="flat">
                <a:noFill/>
                <a:prstDash val="solid"/>
                <a:miter/>
              </a:ln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defTabSz="914446"/>
                <a:endParaRPr lang="en-GB">
                  <a:solidFill>
                    <a:srgbClr val="000000"/>
                  </a:solidFill>
                  <a:latin typeface="Novo Apply Sans"/>
                </a:endParaRPr>
              </a:p>
            </p:txBody>
          </p:sp>
          <p:sp>
            <p:nvSpPr>
              <p:cNvPr id="56" name="Freeform: Shape 55">
                <a:extLst>
                  <a:ext uri="{FF2B5EF4-FFF2-40B4-BE49-F238E27FC236}">
                    <a16:creationId xmlns:a16="http://schemas.microsoft.com/office/drawing/2014/main" id="{043BEF6C-B398-4819-9DA9-E794B4B040F3}"/>
                  </a:ext>
                </a:extLst>
              </p:cNvPr>
              <p:cNvSpPr/>
              <p:nvPr/>
            </p:nvSpPr>
            <p:spPr>
              <a:xfrm>
                <a:off x="12277804" y="4360371"/>
                <a:ext cx="1544923" cy="1658897"/>
              </a:xfrm>
              <a:custGeom>
                <a:avLst/>
                <a:gdLst>
                  <a:gd name="connsiteX0" fmla="*/ 1147858 w 5402008"/>
                  <a:gd name="connsiteY0" fmla="*/ 19717 h 5800534"/>
                  <a:gd name="connsiteX1" fmla="*/ 1128141 w 5402008"/>
                  <a:gd name="connsiteY1" fmla="*/ 0 h 5800534"/>
                  <a:gd name="connsiteX2" fmla="*/ 950976 w 5402008"/>
                  <a:gd name="connsiteY2" fmla="*/ 0 h 5800534"/>
                  <a:gd name="connsiteX3" fmla="*/ 931259 w 5402008"/>
                  <a:gd name="connsiteY3" fmla="*/ 19717 h 5800534"/>
                  <a:gd name="connsiteX4" fmla="*/ 950976 w 5402008"/>
                  <a:gd name="connsiteY4" fmla="*/ 39434 h 5800534"/>
                  <a:gd name="connsiteX5" fmla="*/ 1128141 w 5402008"/>
                  <a:gd name="connsiteY5" fmla="*/ 39434 h 5800534"/>
                  <a:gd name="connsiteX6" fmla="*/ 1147858 w 5402008"/>
                  <a:gd name="connsiteY6" fmla="*/ 19717 h 5800534"/>
                  <a:gd name="connsiteX7" fmla="*/ 1261872 w 5402008"/>
                  <a:gd name="connsiteY7" fmla="*/ 5761101 h 5800534"/>
                  <a:gd name="connsiteX8" fmla="*/ 1084707 w 5402008"/>
                  <a:gd name="connsiteY8" fmla="*/ 5761101 h 5800534"/>
                  <a:gd name="connsiteX9" fmla="*/ 1064990 w 5402008"/>
                  <a:gd name="connsiteY9" fmla="*/ 5780818 h 5800534"/>
                  <a:gd name="connsiteX10" fmla="*/ 1084707 w 5402008"/>
                  <a:gd name="connsiteY10" fmla="*/ 5800535 h 5800534"/>
                  <a:gd name="connsiteX11" fmla="*/ 1261872 w 5402008"/>
                  <a:gd name="connsiteY11" fmla="*/ 5800535 h 5800534"/>
                  <a:gd name="connsiteX12" fmla="*/ 1281589 w 5402008"/>
                  <a:gd name="connsiteY12" fmla="*/ 5780818 h 5800534"/>
                  <a:gd name="connsiteX13" fmla="*/ 1261872 w 5402008"/>
                  <a:gd name="connsiteY13" fmla="*/ 5761101 h 5800534"/>
                  <a:gd name="connsiteX14" fmla="*/ 907637 w 5402008"/>
                  <a:gd name="connsiteY14" fmla="*/ 5761101 h 5800534"/>
                  <a:gd name="connsiteX15" fmla="*/ 730472 w 5402008"/>
                  <a:gd name="connsiteY15" fmla="*/ 5761101 h 5800534"/>
                  <a:gd name="connsiteX16" fmla="*/ 710756 w 5402008"/>
                  <a:gd name="connsiteY16" fmla="*/ 5780818 h 5800534"/>
                  <a:gd name="connsiteX17" fmla="*/ 730472 w 5402008"/>
                  <a:gd name="connsiteY17" fmla="*/ 5800535 h 5800534"/>
                  <a:gd name="connsiteX18" fmla="*/ 907637 w 5402008"/>
                  <a:gd name="connsiteY18" fmla="*/ 5800535 h 5800534"/>
                  <a:gd name="connsiteX19" fmla="*/ 927354 w 5402008"/>
                  <a:gd name="connsiteY19" fmla="*/ 5780818 h 5800534"/>
                  <a:gd name="connsiteX20" fmla="*/ 907637 w 5402008"/>
                  <a:gd name="connsiteY20" fmla="*/ 5761101 h 5800534"/>
                  <a:gd name="connsiteX21" fmla="*/ 441293 w 5402008"/>
                  <a:gd name="connsiteY21" fmla="*/ 40767 h 5800534"/>
                  <a:gd name="connsiteX22" fmla="*/ 416433 w 5402008"/>
                  <a:gd name="connsiteY22" fmla="*/ 27908 h 5800534"/>
                  <a:gd name="connsiteX23" fmla="*/ 253079 w 5402008"/>
                  <a:gd name="connsiteY23" fmla="*/ 109157 h 5800534"/>
                  <a:gd name="connsiteX24" fmla="*/ 248317 w 5402008"/>
                  <a:gd name="connsiteY24" fmla="*/ 136684 h 5800534"/>
                  <a:gd name="connsiteX25" fmla="*/ 264509 w 5402008"/>
                  <a:gd name="connsiteY25" fmla="*/ 145066 h 5800534"/>
                  <a:gd name="connsiteX26" fmla="*/ 275939 w 5402008"/>
                  <a:gd name="connsiteY26" fmla="*/ 141446 h 5800534"/>
                  <a:gd name="connsiteX27" fmla="*/ 428435 w 5402008"/>
                  <a:gd name="connsiteY27" fmla="*/ 65532 h 5800534"/>
                  <a:gd name="connsiteX28" fmla="*/ 441293 w 5402008"/>
                  <a:gd name="connsiteY28" fmla="*/ 40767 h 5800534"/>
                  <a:gd name="connsiteX29" fmla="*/ 2678716 w 5402008"/>
                  <a:gd name="connsiteY29" fmla="*/ 5761101 h 5800534"/>
                  <a:gd name="connsiteX30" fmla="*/ 2501551 w 5402008"/>
                  <a:gd name="connsiteY30" fmla="*/ 5761101 h 5800534"/>
                  <a:gd name="connsiteX31" fmla="*/ 2481834 w 5402008"/>
                  <a:gd name="connsiteY31" fmla="*/ 5780818 h 5800534"/>
                  <a:gd name="connsiteX32" fmla="*/ 2501551 w 5402008"/>
                  <a:gd name="connsiteY32" fmla="*/ 5800535 h 5800534"/>
                  <a:gd name="connsiteX33" fmla="*/ 2678716 w 5402008"/>
                  <a:gd name="connsiteY33" fmla="*/ 5800535 h 5800534"/>
                  <a:gd name="connsiteX34" fmla="*/ 2698433 w 5402008"/>
                  <a:gd name="connsiteY34" fmla="*/ 5780818 h 5800534"/>
                  <a:gd name="connsiteX35" fmla="*/ 2678716 w 5402008"/>
                  <a:gd name="connsiteY35" fmla="*/ 5761101 h 5800534"/>
                  <a:gd name="connsiteX36" fmla="*/ 793623 w 5402008"/>
                  <a:gd name="connsiteY36" fmla="*/ 19717 h 5800534"/>
                  <a:gd name="connsiteX37" fmla="*/ 773906 w 5402008"/>
                  <a:gd name="connsiteY37" fmla="*/ 0 h 5800534"/>
                  <a:gd name="connsiteX38" fmla="*/ 596741 w 5402008"/>
                  <a:gd name="connsiteY38" fmla="*/ 0 h 5800534"/>
                  <a:gd name="connsiteX39" fmla="*/ 577025 w 5402008"/>
                  <a:gd name="connsiteY39" fmla="*/ 19717 h 5800534"/>
                  <a:gd name="connsiteX40" fmla="*/ 596741 w 5402008"/>
                  <a:gd name="connsiteY40" fmla="*/ 39434 h 5800534"/>
                  <a:gd name="connsiteX41" fmla="*/ 773906 w 5402008"/>
                  <a:gd name="connsiteY41" fmla="*/ 39434 h 5800534"/>
                  <a:gd name="connsiteX42" fmla="*/ 793623 w 5402008"/>
                  <a:gd name="connsiteY42" fmla="*/ 19717 h 5800534"/>
                  <a:gd name="connsiteX43" fmla="*/ 1502093 w 5402008"/>
                  <a:gd name="connsiteY43" fmla="*/ 19717 h 5800534"/>
                  <a:gd name="connsiteX44" fmla="*/ 1482376 w 5402008"/>
                  <a:gd name="connsiteY44" fmla="*/ 0 h 5800534"/>
                  <a:gd name="connsiteX45" fmla="*/ 1305306 w 5402008"/>
                  <a:gd name="connsiteY45" fmla="*/ 0 h 5800534"/>
                  <a:gd name="connsiteX46" fmla="*/ 1285589 w 5402008"/>
                  <a:gd name="connsiteY46" fmla="*/ 19717 h 5800534"/>
                  <a:gd name="connsiteX47" fmla="*/ 1305306 w 5402008"/>
                  <a:gd name="connsiteY47" fmla="*/ 39434 h 5800534"/>
                  <a:gd name="connsiteX48" fmla="*/ 1482376 w 5402008"/>
                  <a:gd name="connsiteY48" fmla="*/ 39434 h 5800534"/>
                  <a:gd name="connsiteX49" fmla="*/ 1502093 w 5402008"/>
                  <a:gd name="connsiteY49" fmla="*/ 19717 h 5800534"/>
                  <a:gd name="connsiteX50" fmla="*/ 2324481 w 5402008"/>
                  <a:gd name="connsiteY50" fmla="*/ 5761101 h 5800534"/>
                  <a:gd name="connsiteX51" fmla="*/ 2147316 w 5402008"/>
                  <a:gd name="connsiteY51" fmla="*/ 5761101 h 5800534"/>
                  <a:gd name="connsiteX52" fmla="*/ 2127599 w 5402008"/>
                  <a:gd name="connsiteY52" fmla="*/ 5780818 h 5800534"/>
                  <a:gd name="connsiteX53" fmla="*/ 2147316 w 5402008"/>
                  <a:gd name="connsiteY53" fmla="*/ 5800535 h 5800534"/>
                  <a:gd name="connsiteX54" fmla="*/ 2324481 w 5402008"/>
                  <a:gd name="connsiteY54" fmla="*/ 5800535 h 5800534"/>
                  <a:gd name="connsiteX55" fmla="*/ 2344198 w 5402008"/>
                  <a:gd name="connsiteY55" fmla="*/ 5780818 h 5800534"/>
                  <a:gd name="connsiteX56" fmla="*/ 2324481 w 5402008"/>
                  <a:gd name="connsiteY56" fmla="*/ 5761101 h 5800534"/>
                  <a:gd name="connsiteX57" fmla="*/ 2564797 w 5402008"/>
                  <a:gd name="connsiteY57" fmla="*/ 19717 h 5800534"/>
                  <a:gd name="connsiteX58" fmla="*/ 2545080 w 5402008"/>
                  <a:gd name="connsiteY58" fmla="*/ 0 h 5800534"/>
                  <a:gd name="connsiteX59" fmla="*/ 2367915 w 5402008"/>
                  <a:gd name="connsiteY59" fmla="*/ 0 h 5800534"/>
                  <a:gd name="connsiteX60" fmla="*/ 2348198 w 5402008"/>
                  <a:gd name="connsiteY60" fmla="*/ 19717 h 5800534"/>
                  <a:gd name="connsiteX61" fmla="*/ 2367915 w 5402008"/>
                  <a:gd name="connsiteY61" fmla="*/ 39434 h 5800534"/>
                  <a:gd name="connsiteX62" fmla="*/ 2545080 w 5402008"/>
                  <a:gd name="connsiteY62" fmla="*/ 39434 h 5800534"/>
                  <a:gd name="connsiteX63" fmla="*/ 2564797 w 5402008"/>
                  <a:gd name="connsiteY63" fmla="*/ 19717 h 5800534"/>
                  <a:gd name="connsiteX64" fmla="*/ 129254 w 5402008"/>
                  <a:gd name="connsiteY64" fmla="*/ 5506403 h 5800534"/>
                  <a:gd name="connsiteX65" fmla="*/ 101918 w 5402008"/>
                  <a:gd name="connsiteY65" fmla="*/ 5500592 h 5800534"/>
                  <a:gd name="connsiteX66" fmla="*/ 96107 w 5402008"/>
                  <a:gd name="connsiteY66" fmla="*/ 5527930 h 5800534"/>
                  <a:gd name="connsiteX67" fmla="*/ 217551 w 5402008"/>
                  <a:gd name="connsiteY67" fmla="*/ 5664042 h 5800534"/>
                  <a:gd name="connsiteX68" fmla="*/ 230124 w 5402008"/>
                  <a:gd name="connsiteY68" fmla="*/ 5668613 h 5800534"/>
                  <a:gd name="connsiteX69" fmla="*/ 245364 w 5402008"/>
                  <a:gd name="connsiteY69" fmla="*/ 5661470 h 5800534"/>
                  <a:gd name="connsiteX70" fmla="*/ 242697 w 5402008"/>
                  <a:gd name="connsiteY70" fmla="*/ 5633657 h 5800534"/>
                  <a:gd name="connsiteX71" fmla="*/ 129254 w 5402008"/>
                  <a:gd name="connsiteY71" fmla="*/ 5506403 h 5800534"/>
                  <a:gd name="connsiteX72" fmla="*/ 2210562 w 5402008"/>
                  <a:gd name="connsiteY72" fmla="*/ 19717 h 5800534"/>
                  <a:gd name="connsiteX73" fmla="*/ 2190845 w 5402008"/>
                  <a:gd name="connsiteY73" fmla="*/ 0 h 5800534"/>
                  <a:gd name="connsiteX74" fmla="*/ 2013776 w 5402008"/>
                  <a:gd name="connsiteY74" fmla="*/ 0 h 5800534"/>
                  <a:gd name="connsiteX75" fmla="*/ 1994059 w 5402008"/>
                  <a:gd name="connsiteY75" fmla="*/ 19717 h 5800534"/>
                  <a:gd name="connsiteX76" fmla="*/ 2013776 w 5402008"/>
                  <a:gd name="connsiteY76" fmla="*/ 39434 h 5800534"/>
                  <a:gd name="connsiteX77" fmla="*/ 2190845 w 5402008"/>
                  <a:gd name="connsiteY77" fmla="*/ 39434 h 5800534"/>
                  <a:gd name="connsiteX78" fmla="*/ 2210562 w 5402008"/>
                  <a:gd name="connsiteY78" fmla="*/ 19717 h 5800534"/>
                  <a:gd name="connsiteX79" fmla="*/ 1970246 w 5402008"/>
                  <a:gd name="connsiteY79" fmla="*/ 5761101 h 5800534"/>
                  <a:gd name="connsiteX80" fmla="*/ 1793177 w 5402008"/>
                  <a:gd name="connsiteY80" fmla="*/ 5761101 h 5800534"/>
                  <a:gd name="connsiteX81" fmla="*/ 1773460 w 5402008"/>
                  <a:gd name="connsiteY81" fmla="*/ 5780818 h 5800534"/>
                  <a:gd name="connsiteX82" fmla="*/ 1793177 w 5402008"/>
                  <a:gd name="connsiteY82" fmla="*/ 5800535 h 5800534"/>
                  <a:gd name="connsiteX83" fmla="*/ 1970246 w 5402008"/>
                  <a:gd name="connsiteY83" fmla="*/ 5800535 h 5800534"/>
                  <a:gd name="connsiteX84" fmla="*/ 1989963 w 5402008"/>
                  <a:gd name="connsiteY84" fmla="*/ 5780818 h 5800534"/>
                  <a:gd name="connsiteX85" fmla="*/ 1970246 w 5402008"/>
                  <a:gd name="connsiteY85" fmla="*/ 5761101 h 5800534"/>
                  <a:gd name="connsiteX86" fmla="*/ 1616012 w 5402008"/>
                  <a:gd name="connsiteY86" fmla="*/ 5761101 h 5800534"/>
                  <a:gd name="connsiteX87" fmla="*/ 1438942 w 5402008"/>
                  <a:gd name="connsiteY87" fmla="*/ 5761101 h 5800534"/>
                  <a:gd name="connsiteX88" fmla="*/ 1419225 w 5402008"/>
                  <a:gd name="connsiteY88" fmla="*/ 5780818 h 5800534"/>
                  <a:gd name="connsiteX89" fmla="*/ 1438942 w 5402008"/>
                  <a:gd name="connsiteY89" fmla="*/ 5800535 h 5800534"/>
                  <a:gd name="connsiteX90" fmla="*/ 1616012 w 5402008"/>
                  <a:gd name="connsiteY90" fmla="*/ 5800535 h 5800534"/>
                  <a:gd name="connsiteX91" fmla="*/ 1635728 w 5402008"/>
                  <a:gd name="connsiteY91" fmla="*/ 5780818 h 5800534"/>
                  <a:gd name="connsiteX92" fmla="*/ 1616012 w 5402008"/>
                  <a:gd name="connsiteY92" fmla="*/ 5761101 h 5800534"/>
                  <a:gd name="connsiteX93" fmla="*/ 1856327 w 5402008"/>
                  <a:gd name="connsiteY93" fmla="*/ 19717 h 5800534"/>
                  <a:gd name="connsiteX94" fmla="*/ 1836611 w 5402008"/>
                  <a:gd name="connsiteY94" fmla="*/ 0 h 5800534"/>
                  <a:gd name="connsiteX95" fmla="*/ 1659541 w 5402008"/>
                  <a:gd name="connsiteY95" fmla="*/ 0 h 5800534"/>
                  <a:gd name="connsiteX96" fmla="*/ 1639824 w 5402008"/>
                  <a:gd name="connsiteY96" fmla="*/ 19717 h 5800534"/>
                  <a:gd name="connsiteX97" fmla="*/ 1659541 w 5402008"/>
                  <a:gd name="connsiteY97" fmla="*/ 39434 h 5800534"/>
                  <a:gd name="connsiteX98" fmla="*/ 1836611 w 5402008"/>
                  <a:gd name="connsiteY98" fmla="*/ 39434 h 5800534"/>
                  <a:gd name="connsiteX99" fmla="*/ 1856327 w 5402008"/>
                  <a:gd name="connsiteY99" fmla="*/ 19717 h 5800534"/>
                  <a:gd name="connsiteX100" fmla="*/ 554927 w 5402008"/>
                  <a:gd name="connsiteY100" fmla="*/ 5759482 h 5800534"/>
                  <a:gd name="connsiteX101" fmla="*/ 389096 w 5402008"/>
                  <a:gd name="connsiteY101" fmla="*/ 5720715 h 5800534"/>
                  <a:gd name="connsiteX102" fmla="*/ 363379 w 5402008"/>
                  <a:gd name="connsiteY102" fmla="*/ 5731669 h 5800534"/>
                  <a:gd name="connsiteX103" fmla="*/ 374333 w 5402008"/>
                  <a:gd name="connsiteY103" fmla="*/ 5757386 h 5800534"/>
                  <a:gd name="connsiteX104" fmla="*/ 551974 w 5402008"/>
                  <a:gd name="connsiteY104" fmla="*/ 5798915 h 5800534"/>
                  <a:gd name="connsiteX105" fmla="*/ 553498 w 5402008"/>
                  <a:gd name="connsiteY105" fmla="*/ 5799011 h 5800534"/>
                  <a:gd name="connsiteX106" fmla="*/ 573215 w 5402008"/>
                  <a:gd name="connsiteY106" fmla="*/ 5780723 h 5800534"/>
                  <a:gd name="connsiteX107" fmla="*/ 554927 w 5402008"/>
                  <a:gd name="connsiteY107" fmla="*/ 5759482 h 5800534"/>
                  <a:gd name="connsiteX108" fmla="*/ 19717 w 5402008"/>
                  <a:gd name="connsiteY108" fmla="*/ 2189893 h 5800534"/>
                  <a:gd name="connsiteX109" fmla="*/ 39434 w 5402008"/>
                  <a:gd name="connsiteY109" fmla="*/ 2170176 h 5800534"/>
                  <a:gd name="connsiteX110" fmla="*/ 39434 w 5402008"/>
                  <a:gd name="connsiteY110" fmla="*/ 1993011 h 5800534"/>
                  <a:gd name="connsiteX111" fmla="*/ 19717 w 5402008"/>
                  <a:gd name="connsiteY111" fmla="*/ 1973294 h 5800534"/>
                  <a:gd name="connsiteX112" fmla="*/ 0 w 5402008"/>
                  <a:gd name="connsiteY112" fmla="*/ 1993011 h 5800534"/>
                  <a:gd name="connsiteX113" fmla="*/ 0 w 5402008"/>
                  <a:gd name="connsiteY113" fmla="*/ 2170176 h 5800534"/>
                  <a:gd name="connsiteX114" fmla="*/ 19717 w 5402008"/>
                  <a:gd name="connsiteY114" fmla="*/ 2189893 h 5800534"/>
                  <a:gd name="connsiteX115" fmla="*/ 19717 w 5402008"/>
                  <a:gd name="connsiteY115" fmla="*/ 2544127 h 5800534"/>
                  <a:gd name="connsiteX116" fmla="*/ 39434 w 5402008"/>
                  <a:gd name="connsiteY116" fmla="*/ 2524411 h 5800534"/>
                  <a:gd name="connsiteX117" fmla="*/ 39434 w 5402008"/>
                  <a:gd name="connsiteY117" fmla="*/ 2347341 h 5800534"/>
                  <a:gd name="connsiteX118" fmla="*/ 19717 w 5402008"/>
                  <a:gd name="connsiteY118" fmla="*/ 2327624 h 5800534"/>
                  <a:gd name="connsiteX119" fmla="*/ 0 w 5402008"/>
                  <a:gd name="connsiteY119" fmla="*/ 2347341 h 5800534"/>
                  <a:gd name="connsiteX120" fmla="*/ 0 w 5402008"/>
                  <a:gd name="connsiteY120" fmla="*/ 2524411 h 5800534"/>
                  <a:gd name="connsiteX121" fmla="*/ 19717 w 5402008"/>
                  <a:gd name="connsiteY121" fmla="*/ 2544127 h 5800534"/>
                  <a:gd name="connsiteX122" fmla="*/ 19717 w 5402008"/>
                  <a:gd name="connsiteY122" fmla="*/ 1835658 h 5800534"/>
                  <a:gd name="connsiteX123" fmla="*/ 39434 w 5402008"/>
                  <a:gd name="connsiteY123" fmla="*/ 1815941 h 5800534"/>
                  <a:gd name="connsiteX124" fmla="*/ 39434 w 5402008"/>
                  <a:gd name="connsiteY124" fmla="*/ 1638776 h 5800534"/>
                  <a:gd name="connsiteX125" fmla="*/ 19717 w 5402008"/>
                  <a:gd name="connsiteY125" fmla="*/ 1619060 h 5800534"/>
                  <a:gd name="connsiteX126" fmla="*/ 0 w 5402008"/>
                  <a:gd name="connsiteY126" fmla="*/ 1638776 h 5800534"/>
                  <a:gd name="connsiteX127" fmla="*/ 0 w 5402008"/>
                  <a:gd name="connsiteY127" fmla="*/ 1815941 h 5800534"/>
                  <a:gd name="connsiteX128" fmla="*/ 19717 w 5402008"/>
                  <a:gd name="connsiteY128" fmla="*/ 1835658 h 5800534"/>
                  <a:gd name="connsiteX129" fmla="*/ 19717 w 5402008"/>
                  <a:gd name="connsiteY129" fmla="*/ 772954 h 5800534"/>
                  <a:gd name="connsiteX130" fmla="*/ 39434 w 5402008"/>
                  <a:gd name="connsiteY130" fmla="*/ 753237 h 5800534"/>
                  <a:gd name="connsiteX131" fmla="*/ 39434 w 5402008"/>
                  <a:gd name="connsiteY131" fmla="*/ 597789 h 5800534"/>
                  <a:gd name="connsiteX132" fmla="*/ 39815 w 5402008"/>
                  <a:gd name="connsiteY132" fmla="*/ 576739 h 5800534"/>
                  <a:gd name="connsiteX133" fmla="*/ 20765 w 5402008"/>
                  <a:gd name="connsiteY133" fmla="*/ 556260 h 5800534"/>
                  <a:gd name="connsiteX134" fmla="*/ 286 w 5402008"/>
                  <a:gd name="connsiteY134" fmla="*/ 575310 h 5800534"/>
                  <a:gd name="connsiteX135" fmla="*/ 0 w 5402008"/>
                  <a:gd name="connsiteY135" fmla="*/ 597789 h 5800534"/>
                  <a:gd name="connsiteX136" fmla="*/ 0 w 5402008"/>
                  <a:gd name="connsiteY136" fmla="*/ 753142 h 5800534"/>
                  <a:gd name="connsiteX137" fmla="*/ 19717 w 5402008"/>
                  <a:gd name="connsiteY137" fmla="*/ 772954 h 5800534"/>
                  <a:gd name="connsiteX138" fmla="*/ 19717 w 5402008"/>
                  <a:gd name="connsiteY138" fmla="*/ 1481423 h 5800534"/>
                  <a:gd name="connsiteX139" fmla="*/ 39434 w 5402008"/>
                  <a:gd name="connsiteY139" fmla="*/ 1461707 h 5800534"/>
                  <a:gd name="connsiteX140" fmla="*/ 39434 w 5402008"/>
                  <a:gd name="connsiteY140" fmla="*/ 1284637 h 5800534"/>
                  <a:gd name="connsiteX141" fmla="*/ 19717 w 5402008"/>
                  <a:gd name="connsiteY141" fmla="*/ 1264920 h 5800534"/>
                  <a:gd name="connsiteX142" fmla="*/ 0 w 5402008"/>
                  <a:gd name="connsiteY142" fmla="*/ 1284637 h 5800534"/>
                  <a:gd name="connsiteX143" fmla="*/ 0 w 5402008"/>
                  <a:gd name="connsiteY143" fmla="*/ 1461707 h 5800534"/>
                  <a:gd name="connsiteX144" fmla="*/ 19717 w 5402008"/>
                  <a:gd name="connsiteY144" fmla="*/ 1481423 h 5800534"/>
                  <a:gd name="connsiteX145" fmla="*/ 19717 w 5402008"/>
                  <a:gd name="connsiteY145" fmla="*/ 2898362 h 5800534"/>
                  <a:gd name="connsiteX146" fmla="*/ 39434 w 5402008"/>
                  <a:gd name="connsiteY146" fmla="*/ 2878646 h 5800534"/>
                  <a:gd name="connsiteX147" fmla="*/ 39434 w 5402008"/>
                  <a:gd name="connsiteY147" fmla="*/ 2701481 h 5800534"/>
                  <a:gd name="connsiteX148" fmla="*/ 19717 w 5402008"/>
                  <a:gd name="connsiteY148" fmla="*/ 2681764 h 5800534"/>
                  <a:gd name="connsiteX149" fmla="*/ 0 w 5402008"/>
                  <a:gd name="connsiteY149" fmla="*/ 2701481 h 5800534"/>
                  <a:gd name="connsiteX150" fmla="*/ 0 w 5402008"/>
                  <a:gd name="connsiteY150" fmla="*/ 2878646 h 5800534"/>
                  <a:gd name="connsiteX151" fmla="*/ 19717 w 5402008"/>
                  <a:gd name="connsiteY151" fmla="*/ 2898362 h 5800534"/>
                  <a:gd name="connsiteX152" fmla="*/ 19717 w 5402008"/>
                  <a:gd name="connsiteY152" fmla="*/ 1127189 h 5800534"/>
                  <a:gd name="connsiteX153" fmla="*/ 39434 w 5402008"/>
                  <a:gd name="connsiteY153" fmla="*/ 1107472 h 5800534"/>
                  <a:gd name="connsiteX154" fmla="*/ 39434 w 5402008"/>
                  <a:gd name="connsiteY154" fmla="*/ 930307 h 5800534"/>
                  <a:gd name="connsiteX155" fmla="*/ 19717 w 5402008"/>
                  <a:gd name="connsiteY155" fmla="*/ 910590 h 5800534"/>
                  <a:gd name="connsiteX156" fmla="*/ 0 w 5402008"/>
                  <a:gd name="connsiteY156" fmla="*/ 930307 h 5800534"/>
                  <a:gd name="connsiteX157" fmla="*/ 0 w 5402008"/>
                  <a:gd name="connsiteY157" fmla="*/ 1107472 h 5800534"/>
                  <a:gd name="connsiteX158" fmla="*/ 19717 w 5402008"/>
                  <a:gd name="connsiteY158" fmla="*/ 1127189 h 5800534"/>
                  <a:gd name="connsiteX159" fmla="*/ 19717 w 5402008"/>
                  <a:gd name="connsiteY159" fmla="*/ 3961067 h 5800534"/>
                  <a:gd name="connsiteX160" fmla="*/ 39434 w 5402008"/>
                  <a:gd name="connsiteY160" fmla="*/ 3941350 h 5800534"/>
                  <a:gd name="connsiteX161" fmla="*/ 39434 w 5402008"/>
                  <a:gd name="connsiteY161" fmla="*/ 3764185 h 5800534"/>
                  <a:gd name="connsiteX162" fmla="*/ 19717 w 5402008"/>
                  <a:gd name="connsiteY162" fmla="*/ 3744468 h 5800534"/>
                  <a:gd name="connsiteX163" fmla="*/ 0 w 5402008"/>
                  <a:gd name="connsiteY163" fmla="*/ 3764185 h 5800534"/>
                  <a:gd name="connsiteX164" fmla="*/ 0 w 5402008"/>
                  <a:gd name="connsiteY164" fmla="*/ 3941350 h 5800534"/>
                  <a:gd name="connsiteX165" fmla="*/ 19717 w 5402008"/>
                  <a:gd name="connsiteY165" fmla="*/ 3961067 h 5800534"/>
                  <a:gd name="connsiteX166" fmla="*/ 19717 w 5402008"/>
                  <a:gd name="connsiteY166" fmla="*/ 5023771 h 5800534"/>
                  <a:gd name="connsiteX167" fmla="*/ 39434 w 5402008"/>
                  <a:gd name="connsiteY167" fmla="*/ 5004055 h 5800534"/>
                  <a:gd name="connsiteX168" fmla="*/ 39434 w 5402008"/>
                  <a:gd name="connsiteY168" fmla="*/ 4826889 h 5800534"/>
                  <a:gd name="connsiteX169" fmla="*/ 19717 w 5402008"/>
                  <a:gd name="connsiteY169" fmla="*/ 4807173 h 5800534"/>
                  <a:gd name="connsiteX170" fmla="*/ 0 w 5402008"/>
                  <a:gd name="connsiteY170" fmla="*/ 4826889 h 5800534"/>
                  <a:gd name="connsiteX171" fmla="*/ 0 w 5402008"/>
                  <a:gd name="connsiteY171" fmla="*/ 5004055 h 5800534"/>
                  <a:gd name="connsiteX172" fmla="*/ 19717 w 5402008"/>
                  <a:gd name="connsiteY172" fmla="*/ 5023771 h 5800534"/>
                  <a:gd name="connsiteX173" fmla="*/ 19717 w 5402008"/>
                  <a:gd name="connsiteY173" fmla="*/ 4669536 h 5800534"/>
                  <a:gd name="connsiteX174" fmla="*/ 39434 w 5402008"/>
                  <a:gd name="connsiteY174" fmla="*/ 4649819 h 5800534"/>
                  <a:gd name="connsiteX175" fmla="*/ 39434 w 5402008"/>
                  <a:gd name="connsiteY175" fmla="*/ 4472654 h 5800534"/>
                  <a:gd name="connsiteX176" fmla="*/ 19717 w 5402008"/>
                  <a:gd name="connsiteY176" fmla="*/ 4452938 h 5800534"/>
                  <a:gd name="connsiteX177" fmla="*/ 0 w 5402008"/>
                  <a:gd name="connsiteY177" fmla="*/ 4472654 h 5800534"/>
                  <a:gd name="connsiteX178" fmla="*/ 0 w 5402008"/>
                  <a:gd name="connsiteY178" fmla="*/ 4649819 h 5800534"/>
                  <a:gd name="connsiteX179" fmla="*/ 19717 w 5402008"/>
                  <a:gd name="connsiteY179" fmla="*/ 4669536 h 5800534"/>
                  <a:gd name="connsiteX180" fmla="*/ 39529 w 5402008"/>
                  <a:gd name="connsiteY180" fmla="*/ 5202746 h 5800534"/>
                  <a:gd name="connsiteX181" fmla="*/ 39529 w 5402008"/>
                  <a:gd name="connsiteY181" fmla="*/ 5181124 h 5800534"/>
                  <a:gd name="connsiteX182" fmla="*/ 19812 w 5402008"/>
                  <a:gd name="connsiteY182" fmla="*/ 5161407 h 5800534"/>
                  <a:gd name="connsiteX183" fmla="*/ 95 w 5402008"/>
                  <a:gd name="connsiteY183" fmla="*/ 5181124 h 5800534"/>
                  <a:gd name="connsiteX184" fmla="*/ 95 w 5402008"/>
                  <a:gd name="connsiteY184" fmla="*/ 5202746 h 5800534"/>
                  <a:gd name="connsiteX185" fmla="*/ 21431 w 5402008"/>
                  <a:gd name="connsiteY185" fmla="*/ 5361527 h 5800534"/>
                  <a:gd name="connsiteX186" fmla="*/ 40481 w 5402008"/>
                  <a:gd name="connsiteY186" fmla="*/ 5376101 h 5800534"/>
                  <a:gd name="connsiteX187" fmla="*/ 45720 w 5402008"/>
                  <a:gd name="connsiteY187" fmla="*/ 5375339 h 5800534"/>
                  <a:gd name="connsiteX188" fmla="*/ 59531 w 5402008"/>
                  <a:gd name="connsiteY188" fmla="*/ 5351050 h 5800534"/>
                  <a:gd name="connsiteX189" fmla="*/ 39529 w 5402008"/>
                  <a:gd name="connsiteY189" fmla="*/ 5202746 h 5800534"/>
                  <a:gd name="connsiteX190" fmla="*/ 149638 w 5402008"/>
                  <a:gd name="connsiteY190" fmla="*/ 232124 h 5800534"/>
                  <a:gd name="connsiteX191" fmla="*/ 121920 w 5402008"/>
                  <a:gd name="connsiteY191" fmla="*/ 235934 h 5800534"/>
                  <a:gd name="connsiteX192" fmla="*/ 34862 w 5402008"/>
                  <a:gd name="connsiteY192" fmla="*/ 396240 h 5800534"/>
                  <a:gd name="connsiteX193" fmla="*/ 46768 w 5402008"/>
                  <a:gd name="connsiteY193" fmla="*/ 421481 h 5800534"/>
                  <a:gd name="connsiteX194" fmla="*/ 53435 w 5402008"/>
                  <a:gd name="connsiteY194" fmla="*/ 422624 h 5800534"/>
                  <a:gd name="connsiteX195" fmla="*/ 72009 w 5402008"/>
                  <a:gd name="connsiteY195" fmla="*/ 409480 h 5800534"/>
                  <a:gd name="connsiteX196" fmla="*/ 153353 w 5402008"/>
                  <a:gd name="connsiteY196" fmla="*/ 259842 h 5800534"/>
                  <a:gd name="connsiteX197" fmla="*/ 149638 w 5402008"/>
                  <a:gd name="connsiteY197" fmla="*/ 232124 h 5800534"/>
                  <a:gd name="connsiteX198" fmla="*/ 19717 w 5402008"/>
                  <a:gd name="connsiteY198" fmla="*/ 4315301 h 5800534"/>
                  <a:gd name="connsiteX199" fmla="*/ 39434 w 5402008"/>
                  <a:gd name="connsiteY199" fmla="*/ 4295585 h 5800534"/>
                  <a:gd name="connsiteX200" fmla="*/ 39434 w 5402008"/>
                  <a:gd name="connsiteY200" fmla="*/ 4118515 h 5800534"/>
                  <a:gd name="connsiteX201" fmla="*/ 19717 w 5402008"/>
                  <a:gd name="connsiteY201" fmla="*/ 4098798 h 5800534"/>
                  <a:gd name="connsiteX202" fmla="*/ 0 w 5402008"/>
                  <a:gd name="connsiteY202" fmla="*/ 4118515 h 5800534"/>
                  <a:gd name="connsiteX203" fmla="*/ 0 w 5402008"/>
                  <a:gd name="connsiteY203" fmla="*/ 4295585 h 5800534"/>
                  <a:gd name="connsiteX204" fmla="*/ 19717 w 5402008"/>
                  <a:gd name="connsiteY204" fmla="*/ 4315301 h 5800534"/>
                  <a:gd name="connsiteX205" fmla="*/ 19717 w 5402008"/>
                  <a:gd name="connsiteY205" fmla="*/ 3606832 h 5800534"/>
                  <a:gd name="connsiteX206" fmla="*/ 39434 w 5402008"/>
                  <a:gd name="connsiteY206" fmla="*/ 3587020 h 5800534"/>
                  <a:gd name="connsiteX207" fmla="*/ 39434 w 5402008"/>
                  <a:gd name="connsiteY207" fmla="*/ 3409855 h 5800534"/>
                  <a:gd name="connsiteX208" fmla="*/ 19717 w 5402008"/>
                  <a:gd name="connsiteY208" fmla="*/ 3390138 h 5800534"/>
                  <a:gd name="connsiteX209" fmla="*/ 0 w 5402008"/>
                  <a:gd name="connsiteY209" fmla="*/ 3409855 h 5800534"/>
                  <a:gd name="connsiteX210" fmla="*/ 0 w 5402008"/>
                  <a:gd name="connsiteY210" fmla="*/ 3587020 h 5800534"/>
                  <a:gd name="connsiteX211" fmla="*/ 19717 w 5402008"/>
                  <a:gd name="connsiteY211" fmla="*/ 3606832 h 5800534"/>
                  <a:gd name="connsiteX212" fmla="*/ 19717 w 5402008"/>
                  <a:gd name="connsiteY212" fmla="*/ 3252597 h 5800534"/>
                  <a:gd name="connsiteX213" fmla="*/ 39434 w 5402008"/>
                  <a:gd name="connsiteY213" fmla="*/ 3232881 h 5800534"/>
                  <a:gd name="connsiteX214" fmla="*/ 39434 w 5402008"/>
                  <a:gd name="connsiteY214" fmla="*/ 3055715 h 5800534"/>
                  <a:gd name="connsiteX215" fmla="*/ 19717 w 5402008"/>
                  <a:gd name="connsiteY215" fmla="*/ 3035999 h 5800534"/>
                  <a:gd name="connsiteX216" fmla="*/ 0 w 5402008"/>
                  <a:gd name="connsiteY216" fmla="*/ 3055715 h 5800534"/>
                  <a:gd name="connsiteX217" fmla="*/ 0 w 5402008"/>
                  <a:gd name="connsiteY217" fmla="*/ 3232881 h 5800534"/>
                  <a:gd name="connsiteX218" fmla="*/ 19717 w 5402008"/>
                  <a:gd name="connsiteY218" fmla="*/ 3252597 h 5800534"/>
                  <a:gd name="connsiteX219" fmla="*/ 5382292 w 5402008"/>
                  <a:gd name="connsiteY219" fmla="*/ 3609594 h 5800534"/>
                  <a:gd name="connsiteX220" fmla="*/ 5362575 w 5402008"/>
                  <a:gd name="connsiteY220" fmla="*/ 3629311 h 5800534"/>
                  <a:gd name="connsiteX221" fmla="*/ 5362575 w 5402008"/>
                  <a:gd name="connsiteY221" fmla="*/ 3806381 h 5800534"/>
                  <a:gd name="connsiteX222" fmla="*/ 5382292 w 5402008"/>
                  <a:gd name="connsiteY222" fmla="*/ 3826098 h 5800534"/>
                  <a:gd name="connsiteX223" fmla="*/ 5402009 w 5402008"/>
                  <a:gd name="connsiteY223" fmla="*/ 3806381 h 5800534"/>
                  <a:gd name="connsiteX224" fmla="*/ 5402009 w 5402008"/>
                  <a:gd name="connsiteY224" fmla="*/ 3629311 h 5800534"/>
                  <a:gd name="connsiteX225" fmla="*/ 5382292 w 5402008"/>
                  <a:gd name="connsiteY225" fmla="*/ 3609594 h 5800534"/>
                  <a:gd name="connsiteX226" fmla="*/ 2919032 w 5402008"/>
                  <a:gd name="connsiteY226" fmla="*/ 19717 h 5800534"/>
                  <a:gd name="connsiteX227" fmla="*/ 2899315 w 5402008"/>
                  <a:gd name="connsiteY227" fmla="*/ 0 h 5800534"/>
                  <a:gd name="connsiteX228" fmla="*/ 2722245 w 5402008"/>
                  <a:gd name="connsiteY228" fmla="*/ 0 h 5800534"/>
                  <a:gd name="connsiteX229" fmla="*/ 2702528 w 5402008"/>
                  <a:gd name="connsiteY229" fmla="*/ 19717 h 5800534"/>
                  <a:gd name="connsiteX230" fmla="*/ 2722245 w 5402008"/>
                  <a:gd name="connsiteY230" fmla="*/ 39434 h 5800534"/>
                  <a:gd name="connsiteX231" fmla="*/ 2899315 w 5402008"/>
                  <a:gd name="connsiteY231" fmla="*/ 39434 h 5800534"/>
                  <a:gd name="connsiteX232" fmla="*/ 2919032 w 5402008"/>
                  <a:gd name="connsiteY232" fmla="*/ 19717 h 5800534"/>
                  <a:gd name="connsiteX233" fmla="*/ 5382292 w 5402008"/>
                  <a:gd name="connsiteY233" fmla="*/ 3963829 h 5800534"/>
                  <a:gd name="connsiteX234" fmla="*/ 5362575 w 5402008"/>
                  <a:gd name="connsiteY234" fmla="*/ 3983546 h 5800534"/>
                  <a:gd name="connsiteX235" fmla="*/ 5362575 w 5402008"/>
                  <a:gd name="connsiteY235" fmla="*/ 4160711 h 5800534"/>
                  <a:gd name="connsiteX236" fmla="*/ 5382292 w 5402008"/>
                  <a:gd name="connsiteY236" fmla="*/ 4180427 h 5800534"/>
                  <a:gd name="connsiteX237" fmla="*/ 5402009 w 5402008"/>
                  <a:gd name="connsiteY237" fmla="*/ 4160711 h 5800534"/>
                  <a:gd name="connsiteX238" fmla="*/ 5402009 w 5402008"/>
                  <a:gd name="connsiteY238" fmla="*/ 3983546 h 5800534"/>
                  <a:gd name="connsiteX239" fmla="*/ 5382292 w 5402008"/>
                  <a:gd name="connsiteY239" fmla="*/ 3963829 h 5800534"/>
                  <a:gd name="connsiteX240" fmla="*/ 5382292 w 5402008"/>
                  <a:gd name="connsiteY240" fmla="*/ 4318064 h 5800534"/>
                  <a:gd name="connsiteX241" fmla="*/ 5362575 w 5402008"/>
                  <a:gd name="connsiteY241" fmla="*/ 4337781 h 5800534"/>
                  <a:gd name="connsiteX242" fmla="*/ 5362575 w 5402008"/>
                  <a:gd name="connsiteY242" fmla="*/ 4514945 h 5800534"/>
                  <a:gd name="connsiteX243" fmla="*/ 5382292 w 5402008"/>
                  <a:gd name="connsiteY243" fmla="*/ 4534662 h 5800534"/>
                  <a:gd name="connsiteX244" fmla="*/ 5402009 w 5402008"/>
                  <a:gd name="connsiteY244" fmla="*/ 4514945 h 5800534"/>
                  <a:gd name="connsiteX245" fmla="*/ 5402009 w 5402008"/>
                  <a:gd name="connsiteY245" fmla="*/ 4337781 h 5800534"/>
                  <a:gd name="connsiteX246" fmla="*/ 5382292 w 5402008"/>
                  <a:gd name="connsiteY246" fmla="*/ 4318064 h 5800534"/>
                  <a:gd name="connsiteX247" fmla="*/ 5382292 w 5402008"/>
                  <a:gd name="connsiteY247" fmla="*/ 5026533 h 5800534"/>
                  <a:gd name="connsiteX248" fmla="*/ 5362575 w 5402008"/>
                  <a:gd name="connsiteY248" fmla="*/ 5046250 h 5800534"/>
                  <a:gd name="connsiteX249" fmla="*/ 5362575 w 5402008"/>
                  <a:gd name="connsiteY249" fmla="*/ 5202746 h 5800534"/>
                  <a:gd name="connsiteX250" fmla="*/ 5362194 w 5402008"/>
                  <a:gd name="connsiteY250" fmla="*/ 5222748 h 5800534"/>
                  <a:gd name="connsiteX251" fmla="*/ 5381244 w 5402008"/>
                  <a:gd name="connsiteY251" fmla="*/ 5243227 h 5800534"/>
                  <a:gd name="connsiteX252" fmla="*/ 5381911 w 5402008"/>
                  <a:gd name="connsiteY252" fmla="*/ 5243227 h 5800534"/>
                  <a:gd name="connsiteX253" fmla="*/ 5401628 w 5402008"/>
                  <a:gd name="connsiteY253" fmla="*/ 5224177 h 5800534"/>
                  <a:gd name="connsiteX254" fmla="*/ 5402009 w 5402008"/>
                  <a:gd name="connsiteY254" fmla="*/ 5202841 h 5800534"/>
                  <a:gd name="connsiteX255" fmla="*/ 5402009 w 5402008"/>
                  <a:gd name="connsiteY255" fmla="*/ 5046346 h 5800534"/>
                  <a:gd name="connsiteX256" fmla="*/ 5382292 w 5402008"/>
                  <a:gd name="connsiteY256" fmla="*/ 5026533 h 5800534"/>
                  <a:gd name="connsiteX257" fmla="*/ 5382292 w 5402008"/>
                  <a:gd name="connsiteY257" fmla="*/ 4672299 h 5800534"/>
                  <a:gd name="connsiteX258" fmla="*/ 5362575 w 5402008"/>
                  <a:gd name="connsiteY258" fmla="*/ 4692015 h 5800534"/>
                  <a:gd name="connsiteX259" fmla="*/ 5362575 w 5402008"/>
                  <a:gd name="connsiteY259" fmla="*/ 4869085 h 5800534"/>
                  <a:gd name="connsiteX260" fmla="*/ 5382292 w 5402008"/>
                  <a:gd name="connsiteY260" fmla="*/ 4888802 h 5800534"/>
                  <a:gd name="connsiteX261" fmla="*/ 5402009 w 5402008"/>
                  <a:gd name="connsiteY261" fmla="*/ 4869085 h 5800534"/>
                  <a:gd name="connsiteX262" fmla="*/ 5402009 w 5402008"/>
                  <a:gd name="connsiteY262" fmla="*/ 4692015 h 5800534"/>
                  <a:gd name="connsiteX263" fmla="*/ 5382292 w 5402008"/>
                  <a:gd name="connsiteY263" fmla="*/ 4672299 h 5800534"/>
                  <a:gd name="connsiteX264" fmla="*/ 5382292 w 5402008"/>
                  <a:gd name="connsiteY264" fmla="*/ 2901125 h 5800534"/>
                  <a:gd name="connsiteX265" fmla="*/ 5362575 w 5402008"/>
                  <a:gd name="connsiteY265" fmla="*/ 2920841 h 5800534"/>
                  <a:gd name="connsiteX266" fmla="*/ 5362575 w 5402008"/>
                  <a:gd name="connsiteY266" fmla="*/ 3097911 h 5800534"/>
                  <a:gd name="connsiteX267" fmla="*/ 5382292 w 5402008"/>
                  <a:gd name="connsiteY267" fmla="*/ 3117628 h 5800534"/>
                  <a:gd name="connsiteX268" fmla="*/ 5402009 w 5402008"/>
                  <a:gd name="connsiteY268" fmla="*/ 3097911 h 5800534"/>
                  <a:gd name="connsiteX269" fmla="*/ 5402009 w 5402008"/>
                  <a:gd name="connsiteY269" fmla="*/ 2920841 h 5800534"/>
                  <a:gd name="connsiteX270" fmla="*/ 5382292 w 5402008"/>
                  <a:gd name="connsiteY270" fmla="*/ 2901125 h 5800534"/>
                  <a:gd name="connsiteX271" fmla="*/ 5382292 w 5402008"/>
                  <a:gd name="connsiteY271" fmla="*/ 2546890 h 5800534"/>
                  <a:gd name="connsiteX272" fmla="*/ 5362575 w 5402008"/>
                  <a:gd name="connsiteY272" fmla="*/ 2566607 h 5800534"/>
                  <a:gd name="connsiteX273" fmla="*/ 5362575 w 5402008"/>
                  <a:gd name="connsiteY273" fmla="*/ 2743772 h 5800534"/>
                  <a:gd name="connsiteX274" fmla="*/ 5382292 w 5402008"/>
                  <a:gd name="connsiteY274" fmla="*/ 2763488 h 5800534"/>
                  <a:gd name="connsiteX275" fmla="*/ 5402009 w 5402008"/>
                  <a:gd name="connsiteY275" fmla="*/ 2743772 h 5800534"/>
                  <a:gd name="connsiteX276" fmla="*/ 5402009 w 5402008"/>
                  <a:gd name="connsiteY276" fmla="*/ 2566607 h 5800534"/>
                  <a:gd name="connsiteX277" fmla="*/ 5382292 w 5402008"/>
                  <a:gd name="connsiteY277" fmla="*/ 2546890 h 5800534"/>
                  <a:gd name="connsiteX278" fmla="*/ 5382292 w 5402008"/>
                  <a:gd name="connsiteY278" fmla="*/ 1129951 h 5800534"/>
                  <a:gd name="connsiteX279" fmla="*/ 5362575 w 5402008"/>
                  <a:gd name="connsiteY279" fmla="*/ 1149668 h 5800534"/>
                  <a:gd name="connsiteX280" fmla="*/ 5362575 w 5402008"/>
                  <a:gd name="connsiteY280" fmla="*/ 1326833 h 5800534"/>
                  <a:gd name="connsiteX281" fmla="*/ 5382292 w 5402008"/>
                  <a:gd name="connsiteY281" fmla="*/ 1346549 h 5800534"/>
                  <a:gd name="connsiteX282" fmla="*/ 5402009 w 5402008"/>
                  <a:gd name="connsiteY282" fmla="*/ 1326833 h 5800534"/>
                  <a:gd name="connsiteX283" fmla="*/ 5402009 w 5402008"/>
                  <a:gd name="connsiteY283" fmla="*/ 1149668 h 5800534"/>
                  <a:gd name="connsiteX284" fmla="*/ 5382292 w 5402008"/>
                  <a:gd name="connsiteY284" fmla="*/ 1129951 h 5800534"/>
                  <a:gd name="connsiteX285" fmla="*/ 5382292 w 5402008"/>
                  <a:gd name="connsiteY285" fmla="*/ 775716 h 5800534"/>
                  <a:gd name="connsiteX286" fmla="*/ 5362575 w 5402008"/>
                  <a:gd name="connsiteY286" fmla="*/ 795433 h 5800534"/>
                  <a:gd name="connsiteX287" fmla="*/ 5362575 w 5402008"/>
                  <a:gd name="connsiteY287" fmla="*/ 972503 h 5800534"/>
                  <a:gd name="connsiteX288" fmla="*/ 5382292 w 5402008"/>
                  <a:gd name="connsiteY288" fmla="*/ 992219 h 5800534"/>
                  <a:gd name="connsiteX289" fmla="*/ 5402009 w 5402008"/>
                  <a:gd name="connsiteY289" fmla="*/ 972503 h 5800534"/>
                  <a:gd name="connsiteX290" fmla="*/ 5402009 w 5402008"/>
                  <a:gd name="connsiteY290" fmla="*/ 795528 h 5800534"/>
                  <a:gd name="connsiteX291" fmla="*/ 5382292 w 5402008"/>
                  <a:gd name="connsiteY291" fmla="*/ 775716 h 5800534"/>
                  <a:gd name="connsiteX292" fmla="*/ 5380387 w 5402008"/>
                  <a:gd name="connsiteY292" fmla="*/ 437960 h 5800534"/>
                  <a:gd name="connsiteX293" fmla="*/ 5356098 w 5402008"/>
                  <a:gd name="connsiteY293" fmla="*/ 424148 h 5800534"/>
                  <a:gd name="connsiteX294" fmla="*/ 5342287 w 5402008"/>
                  <a:gd name="connsiteY294" fmla="*/ 448437 h 5800534"/>
                  <a:gd name="connsiteX295" fmla="*/ 5362480 w 5402008"/>
                  <a:gd name="connsiteY295" fmla="*/ 597789 h 5800534"/>
                  <a:gd name="connsiteX296" fmla="*/ 5362480 w 5402008"/>
                  <a:gd name="connsiteY296" fmla="*/ 618363 h 5800534"/>
                  <a:gd name="connsiteX297" fmla="*/ 5382197 w 5402008"/>
                  <a:gd name="connsiteY297" fmla="*/ 638080 h 5800534"/>
                  <a:gd name="connsiteX298" fmla="*/ 5401914 w 5402008"/>
                  <a:gd name="connsiteY298" fmla="*/ 618363 h 5800534"/>
                  <a:gd name="connsiteX299" fmla="*/ 5401914 w 5402008"/>
                  <a:gd name="connsiteY299" fmla="*/ 597789 h 5800534"/>
                  <a:gd name="connsiteX300" fmla="*/ 5380387 w 5402008"/>
                  <a:gd name="connsiteY300" fmla="*/ 437960 h 5800534"/>
                  <a:gd name="connsiteX301" fmla="*/ 5382292 w 5402008"/>
                  <a:gd name="connsiteY301" fmla="*/ 2192655 h 5800534"/>
                  <a:gd name="connsiteX302" fmla="*/ 5362575 w 5402008"/>
                  <a:gd name="connsiteY302" fmla="*/ 2212372 h 5800534"/>
                  <a:gd name="connsiteX303" fmla="*/ 5362575 w 5402008"/>
                  <a:gd name="connsiteY303" fmla="*/ 2389537 h 5800534"/>
                  <a:gd name="connsiteX304" fmla="*/ 5382292 w 5402008"/>
                  <a:gd name="connsiteY304" fmla="*/ 2409254 h 5800534"/>
                  <a:gd name="connsiteX305" fmla="*/ 5402009 w 5402008"/>
                  <a:gd name="connsiteY305" fmla="*/ 2389537 h 5800534"/>
                  <a:gd name="connsiteX306" fmla="*/ 5402009 w 5402008"/>
                  <a:gd name="connsiteY306" fmla="*/ 2212372 h 5800534"/>
                  <a:gd name="connsiteX307" fmla="*/ 5382292 w 5402008"/>
                  <a:gd name="connsiteY307" fmla="*/ 2192655 h 5800534"/>
                  <a:gd name="connsiteX308" fmla="*/ 5355622 w 5402008"/>
                  <a:gd name="connsiteY308" fmla="*/ 5378101 h 5800534"/>
                  <a:gd name="connsiteX309" fmla="*/ 5330381 w 5402008"/>
                  <a:gd name="connsiteY309" fmla="*/ 5390102 h 5800534"/>
                  <a:gd name="connsiteX310" fmla="*/ 5249323 w 5402008"/>
                  <a:gd name="connsiteY310" fmla="*/ 5539931 h 5800534"/>
                  <a:gd name="connsiteX311" fmla="*/ 5253133 w 5402008"/>
                  <a:gd name="connsiteY311" fmla="*/ 5567649 h 5800534"/>
                  <a:gd name="connsiteX312" fmla="*/ 5265039 w 5402008"/>
                  <a:gd name="connsiteY312" fmla="*/ 5571649 h 5800534"/>
                  <a:gd name="connsiteX313" fmla="*/ 5280755 w 5402008"/>
                  <a:gd name="connsiteY313" fmla="*/ 5563838 h 5800534"/>
                  <a:gd name="connsiteX314" fmla="*/ 5367528 w 5402008"/>
                  <a:gd name="connsiteY314" fmla="*/ 5403342 h 5800534"/>
                  <a:gd name="connsiteX315" fmla="*/ 5355622 w 5402008"/>
                  <a:gd name="connsiteY315" fmla="*/ 5378101 h 5800534"/>
                  <a:gd name="connsiteX316" fmla="*/ 5382292 w 5402008"/>
                  <a:gd name="connsiteY316" fmla="*/ 1838420 h 5800534"/>
                  <a:gd name="connsiteX317" fmla="*/ 5362575 w 5402008"/>
                  <a:gd name="connsiteY317" fmla="*/ 1858137 h 5800534"/>
                  <a:gd name="connsiteX318" fmla="*/ 5362575 w 5402008"/>
                  <a:gd name="connsiteY318" fmla="*/ 2035207 h 5800534"/>
                  <a:gd name="connsiteX319" fmla="*/ 5382292 w 5402008"/>
                  <a:gd name="connsiteY319" fmla="*/ 2054924 h 5800534"/>
                  <a:gd name="connsiteX320" fmla="*/ 5402009 w 5402008"/>
                  <a:gd name="connsiteY320" fmla="*/ 2035207 h 5800534"/>
                  <a:gd name="connsiteX321" fmla="*/ 5402009 w 5402008"/>
                  <a:gd name="connsiteY321" fmla="*/ 1858137 h 5800534"/>
                  <a:gd name="connsiteX322" fmla="*/ 5382292 w 5402008"/>
                  <a:gd name="connsiteY322" fmla="*/ 1838420 h 5800534"/>
                  <a:gd name="connsiteX323" fmla="*/ 5382292 w 5402008"/>
                  <a:gd name="connsiteY323" fmla="*/ 1484186 h 5800534"/>
                  <a:gd name="connsiteX324" fmla="*/ 5362575 w 5402008"/>
                  <a:gd name="connsiteY324" fmla="*/ 1503902 h 5800534"/>
                  <a:gd name="connsiteX325" fmla="*/ 5362575 w 5402008"/>
                  <a:gd name="connsiteY325" fmla="*/ 1681067 h 5800534"/>
                  <a:gd name="connsiteX326" fmla="*/ 5382292 w 5402008"/>
                  <a:gd name="connsiteY326" fmla="*/ 1700784 h 5800534"/>
                  <a:gd name="connsiteX327" fmla="*/ 5402009 w 5402008"/>
                  <a:gd name="connsiteY327" fmla="*/ 1681067 h 5800534"/>
                  <a:gd name="connsiteX328" fmla="*/ 5402009 w 5402008"/>
                  <a:gd name="connsiteY328" fmla="*/ 1503902 h 5800534"/>
                  <a:gd name="connsiteX329" fmla="*/ 5382292 w 5402008"/>
                  <a:gd name="connsiteY329" fmla="*/ 1484186 h 5800534"/>
                  <a:gd name="connsiteX330" fmla="*/ 5382292 w 5402008"/>
                  <a:gd name="connsiteY330" fmla="*/ 3255359 h 5800534"/>
                  <a:gd name="connsiteX331" fmla="*/ 5362575 w 5402008"/>
                  <a:gd name="connsiteY331" fmla="*/ 3275076 h 5800534"/>
                  <a:gd name="connsiteX332" fmla="*/ 5362575 w 5402008"/>
                  <a:gd name="connsiteY332" fmla="*/ 3452241 h 5800534"/>
                  <a:gd name="connsiteX333" fmla="*/ 5382292 w 5402008"/>
                  <a:gd name="connsiteY333" fmla="*/ 3471958 h 5800534"/>
                  <a:gd name="connsiteX334" fmla="*/ 5402009 w 5402008"/>
                  <a:gd name="connsiteY334" fmla="*/ 3452241 h 5800534"/>
                  <a:gd name="connsiteX335" fmla="*/ 5402009 w 5402008"/>
                  <a:gd name="connsiteY335" fmla="*/ 3275076 h 5800534"/>
                  <a:gd name="connsiteX336" fmla="*/ 5382292 w 5402008"/>
                  <a:gd name="connsiteY336" fmla="*/ 3255359 h 5800534"/>
                  <a:gd name="connsiteX337" fmla="*/ 5288756 w 5402008"/>
                  <a:gd name="connsiteY337" fmla="*/ 302228 h 5800534"/>
                  <a:gd name="connsiteX338" fmla="*/ 5299520 w 5402008"/>
                  <a:gd name="connsiteY338" fmla="*/ 298990 h 5800534"/>
                  <a:gd name="connsiteX339" fmla="*/ 5305235 w 5402008"/>
                  <a:gd name="connsiteY339" fmla="*/ 271653 h 5800534"/>
                  <a:gd name="connsiteX340" fmla="*/ 5183505 w 5402008"/>
                  <a:gd name="connsiteY340" fmla="*/ 135827 h 5800534"/>
                  <a:gd name="connsiteX341" fmla="*/ 5155693 w 5402008"/>
                  <a:gd name="connsiteY341" fmla="*/ 138589 h 5800534"/>
                  <a:gd name="connsiteX342" fmla="*/ 5158455 w 5402008"/>
                  <a:gd name="connsiteY342" fmla="*/ 166402 h 5800534"/>
                  <a:gd name="connsiteX343" fmla="*/ 5272088 w 5402008"/>
                  <a:gd name="connsiteY343" fmla="*/ 293370 h 5800534"/>
                  <a:gd name="connsiteX344" fmla="*/ 5288756 w 5402008"/>
                  <a:gd name="connsiteY344" fmla="*/ 302228 h 5800534"/>
                  <a:gd name="connsiteX345" fmla="*/ 3627501 w 5402008"/>
                  <a:gd name="connsiteY345" fmla="*/ 19717 h 5800534"/>
                  <a:gd name="connsiteX346" fmla="*/ 3607784 w 5402008"/>
                  <a:gd name="connsiteY346" fmla="*/ 0 h 5800534"/>
                  <a:gd name="connsiteX347" fmla="*/ 3430715 w 5402008"/>
                  <a:gd name="connsiteY347" fmla="*/ 0 h 5800534"/>
                  <a:gd name="connsiteX348" fmla="*/ 3410998 w 5402008"/>
                  <a:gd name="connsiteY348" fmla="*/ 19717 h 5800534"/>
                  <a:gd name="connsiteX349" fmla="*/ 3430715 w 5402008"/>
                  <a:gd name="connsiteY349" fmla="*/ 39434 h 5800534"/>
                  <a:gd name="connsiteX350" fmla="*/ 3607784 w 5402008"/>
                  <a:gd name="connsiteY350" fmla="*/ 39434 h 5800534"/>
                  <a:gd name="connsiteX351" fmla="*/ 3627501 w 5402008"/>
                  <a:gd name="connsiteY351" fmla="*/ 19717 h 5800534"/>
                  <a:gd name="connsiteX352" fmla="*/ 3981736 w 5402008"/>
                  <a:gd name="connsiteY352" fmla="*/ 19717 h 5800534"/>
                  <a:gd name="connsiteX353" fmla="*/ 3962019 w 5402008"/>
                  <a:gd name="connsiteY353" fmla="*/ 0 h 5800534"/>
                  <a:gd name="connsiteX354" fmla="*/ 3784854 w 5402008"/>
                  <a:gd name="connsiteY354" fmla="*/ 0 h 5800534"/>
                  <a:gd name="connsiteX355" fmla="*/ 3765137 w 5402008"/>
                  <a:gd name="connsiteY355" fmla="*/ 19717 h 5800534"/>
                  <a:gd name="connsiteX356" fmla="*/ 3784854 w 5402008"/>
                  <a:gd name="connsiteY356" fmla="*/ 39434 h 5800534"/>
                  <a:gd name="connsiteX357" fmla="*/ 3962019 w 5402008"/>
                  <a:gd name="connsiteY357" fmla="*/ 39434 h 5800534"/>
                  <a:gd name="connsiteX358" fmla="*/ 3981736 w 5402008"/>
                  <a:gd name="connsiteY358" fmla="*/ 19717 h 5800534"/>
                  <a:gd name="connsiteX359" fmla="*/ 3741420 w 5402008"/>
                  <a:gd name="connsiteY359" fmla="*/ 5761101 h 5800534"/>
                  <a:gd name="connsiteX360" fmla="*/ 3564255 w 5402008"/>
                  <a:gd name="connsiteY360" fmla="*/ 5761101 h 5800534"/>
                  <a:gd name="connsiteX361" fmla="*/ 3544538 w 5402008"/>
                  <a:gd name="connsiteY361" fmla="*/ 5780818 h 5800534"/>
                  <a:gd name="connsiteX362" fmla="*/ 3564255 w 5402008"/>
                  <a:gd name="connsiteY362" fmla="*/ 5800535 h 5800534"/>
                  <a:gd name="connsiteX363" fmla="*/ 3741420 w 5402008"/>
                  <a:gd name="connsiteY363" fmla="*/ 5800535 h 5800534"/>
                  <a:gd name="connsiteX364" fmla="*/ 3761137 w 5402008"/>
                  <a:gd name="connsiteY364" fmla="*/ 5780818 h 5800534"/>
                  <a:gd name="connsiteX365" fmla="*/ 3741420 w 5402008"/>
                  <a:gd name="connsiteY365" fmla="*/ 5761101 h 5800534"/>
                  <a:gd name="connsiteX366" fmla="*/ 3032951 w 5402008"/>
                  <a:gd name="connsiteY366" fmla="*/ 5761101 h 5800534"/>
                  <a:gd name="connsiteX367" fmla="*/ 2855881 w 5402008"/>
                  <a:gd name="connsiteY367" fmla="*/ 5761101 h 5800534"/>
                  <a:gd name="connsiteX368" fmla="*/ 2836164 w 5402008"/>
                  <a:gd name="connsiteY368" fmla="*/ 5780818 h 5800534"/>
                  <a:gd name="connsiteX369" fmla="*/ 2855881 w 5402008"/>
                  <a:gd name="connsiteY369" fmla="*/ 5800535 h 5800534"/>
                  <a:gd name="connsiteX370" fmla="*/ 3032951 w 5402008"/>
                  <a:gd name="connsiteY370" fmla="*/ 5800535 h 5800534"/>
                  <a:gd name="connsiteX371" fmla="*/ 3052667 w 5402008"/>
                  <a:gd name="connsiteY371" fmla="*/ 5780818 h 5800534"/>
                  <a:gd name="connsiteX372" fmla="*/ 3032951 w 5402008"/>
                  <a:gd name="connsiteY372" fmla="*/ 5761101 h 5800534"/>
                  <a:gd name="connsiteX373" fmla="*/ 3387185 w 5402008"/>
                  <a:gd name="connsiteY373" fmla="*/ 5761101 h 5800534"/>
                  <a:gd name="connsiteX374" fmla="*/ 3210116 w 5402008"/>
                  <a:gd name="connsiteY374" fmla="*/ 5761101 h 5800534"/>
                  <a:gd name="connsiteX375" fmla="*/ 3190399 w 5402008"/>
                  <a:gd name="connsiteY375" fmla="*/ 5780818 h 5800534"/>
                  <a:gd name="connsiteX376" fmla="*/ 3210116 w 5402008"/>
                  <a:gd name="connsiteY376" fmla="*/ 5800535 h 5800534"/>
                  <a:gd name="connsiteX377" fmla="*/ 3387185 w 5402008"/>
                  <a:gd name="connsiteY377" fmla="*/ 5800535 h 5800534"/>
                  <a:gd name="connsiteX378" fmla="*/ 3406902 w 5402008"/>
                  <a:gd name="connsiteY378" fmla="*/ 5780818 h 5800534"/>
                  <a:gd name="connsiteX379" fmla="*/ 3387185 w 5402008"/>
                  <a:gd name="connsiteY379" fmla="*/ 5761101 h 5800534"/>
                  <a:gd name="connsiteX380" fmla="*/ 3273266 w 5402008"/>
                  <a:gd name="connsiteY380" fmla="*/ 19717 h 5800534"/>
                  <a:gd name="connsiteX381" fmla="*/ 3253549 w 5402008"/>
                  <a:gd name="connsiteY381" fmla="*/ 0 h 5800534"/>
                  <a:gd name="connsiteX382" fmla="*/ 3076480 w 5402008"/>
                  <a:gd name="connsiteY382" fmla="*/ 0 h 5800534"/>
                  <a:gd name="connsiteX383" fmla="*/ 3056763 w 5402008"/>
                  <a:gd name="connsiteY383" fmla="*/ 19717 h 5800534"/>
                  <a:gd name="connsiteX384" fmla="*/ 3076480 w 5402008"/>
                  <a:gd name="connsiteY384" fmla="*/ 39434 h 5800534"/>
                  <a:gd name="connsiteX385" fmla="*/ 3253549 w 5402008"/>
                  <a:gd name="connsiteY385" fmla="*/ 39434 h 5800534"/>
                  <a:gd name="connsiteX386" fmla="*/ 3273266 w 5402008"/>
                  <a:gd name="connsiteY386" fmla="*/ 19717 h 5800534"/>
                  <a:gd name="connsiteX387" fmla="*/ 4095655 w 5402008"/>
                  <a:gd name="connsiteY387" fmla="*/ 5761101 h 5800534"/>
                  <a:gd name="connsiteX388" fmla="*/ 3918490 w 5402008"/>
                  <a:gd name="connsiteY388" fmla="*/ 5761101 h 5800534"/>
                  <a:gd name="connsiteX389" fmla="*/ 3898773 w 5402008"/>
                  <a:gd name="connsiteY389" fmla="*/ 5780818 h 5800534"/>
                  <a:gd name="connsiteX390" fmla="*/ 3918490 w 5402008"/>
                  <a:gd name="connsiteY390" fmla="*/ 5800535 h 5800534"/>
                  <a:gd name="connsiteX391" fmla="*/ 4095655 w 5402008"/>
                  <a:gd name="connsiteY391" fmla="*/ 5800535 h 5800534"/>
                  <a:gd name="connsiteX392" fmla="*/ 4115372 w 5402008"/>
                  <a:gd name="connsiteY392" fmla="*/ 5780818 h 5800534"/>
                  <a:gd name="connsiteX393" fmla="*/ 4095655 w 5402008"/>
                  <a:gd name="connsiteY393" fmla="*/ 5761101 h 5800534"/>
                  <a:gd name="connsiteX394" fmla="*/ 5019389 w 5402008"/>
                  <a:gd name="connsiteY394" fmla="*/ 80867 h 5800534"/>
                  <a:gd name="connsiteX395" fmla="*/ 5037773 w 5402008"/>
                  <a:gd name="connsiteY395" fmla="*/ 68485 h 5800534"/>
                  <a:gd name="connsiteX396" fmla="*/ 5026819 w 5402008"/>
                  <a:gd name="connsiteY396" fmla="*/ 42767 h 5800534"/>
                  <a:gd name="connsiteX397" fmla="*/ 4849082 w 5402008"/>
                  <a:gd name="connsiteY397" fmla="*/ 1619 h 5800534"/>
                  <a:gd name="connsiteX398" fmla="*/ 4827937 w 5402008"/>
                  <a:gd name="connsiteY398" fmla="*/ 19907 h 5800534"/>
                  <a:gd name="connsiteX399" fmla="*/ 4846225 w 5402008"/>
                  <a:gd name="connsiteY399" fmla="*/ 41053 h 5800534"/>
                  <a:gd name="connsiteX400" fmla="*/ 5012151 w 5402008"/>
                  <a:gd name="connsiteY400" fmla="*/ 79439 h 5800534"/>
                  <a:gd name="connsiteX401" fmla="*/ 5019389 w 5402008"/>
                  <a:gd name="connsiteY401" fmla="*/ 80867 h 5800534"/>
                  <a:gd name="connsiteX402" fmla="*/ 4806410 w 5402008"/>
                  <a:gd name="connsiteY402" fmla="*/ 5761101 h 5800534"/>
                  <a:gd name="connsiteX403" fmla="*/ 4627055 w 5402008"/>
                  <a:gd name="connsiteY403" fmla="*/ 5761101 h 5800534"/>
                  <a:gd name="connsiteX404" fmla="*/ 4607338 w 5402008"/>
                  <a:gd name="connsiteY404" fmla="*/ 5780818 h 5800534"/>
                  <a:gd name="connsiteX405" fmla="*/ 4627055 w 5402008"/>
                  <a:gd name="connsiteY405" fmla="*/ 5800535 h 5800534"/>
                  <a:gd name="connsiteX406" fmla="*/ 4804410 w 5402008"/>
                  <a:gd name="connsiteY406" fmla="*/ 5800535 h 5800534"/>
                  <a:gd name="connsiteX407" fmla="*/ 4806315 w 5402008"/>
                  <a:gd name="connsiteY407" fmla="*/ 5800535 h 5800534"/>
                  <a:gd name="connsiteX408" fmla="*/ 4826032 w 5402008"/>
                  <a:gd name="connsiteY408" fmla="*/ 5780818 h 5800534"/>
                  <a:gd name="connsiteX409" fmla="*/ 4806410 w 5402008"/>
                  <a:gd name="connsiteY409" fmla="*/ 5761101 h 5800534"/>
                  <a:gd name="connsiteX410" fmla="*/ 4335971 w 5402008"/>
                  <a:gd name="connsiteY410" fmla="*/ 19717 h 5800534"/>
                  <a:gd name="connsiteX411" fmla="*/ 4316254 w 5402008"/>
                  <a:gd name="connsiteY411" fmla="*/ 0 h 5800534"/>
                  <a:gd name="connsiteX412" fmla="*/ 4139184 w 5402008"/>
                  <a:gd name="connsiteY412" fmla="*/ 0 h 5800534"/>
                  <a:gd name="connsiteX413" fmla="*/ 4119467 w 5402008"/>
                  <a:gd name="connsiteY413" fmla="*/ 19717 h 5800534"/>
                  <a:gd name="connsiteX414" fmla="*/ 4139184 w 5402008"/>
                  <a:gd name="connsiteY414" fmla="*/ 39434 h 5800534"/>
                  <a:gd name="connsiteX415" fmla="*/ 4316254 w 5402008"/>
                  <a:gd name="connsiteY415" fmla="*/ 39434 h 5800534"/>
                  <a:gd name="connsiteX416" fmla="*/ 4335971 w 5402008"/>
                  <a:gd name="connsiteY416" fmla="*/ 19717 h 5800534"/>
                  <a:gd name="connsiteX417" fmla="*/ 5126927 w 5402008"/>
                  <a:gd name="connsiteY417" fmla="*/ 5658422 h 5800534"/>
                  <a:gd name="connsiteX418" fmla="*/ 4974622 w 5402008"/>
                  <a:gd name="connsiteY418" fmla="*/ 5734622 h 5800534"/>
                  <a:gd name="connsiteX419" fmla="*/ 4961858 w 5402008"/>
                  <a:gd name="connsiteY419" fmla="*/ 5759482 h 5800534"/>
                  <a:gd name="connsiteX420" fmla="*/ 4980718 w 5402008"/>
                  <a:gd name="connsiteY420" fmla="*/ 5773198 h 5800534"/>
                  <a:gd name="connsiteX421" fmla="*/ 4986719 w 5402008"/>
                  <a:gd name="connsiteY421" fmla="*/ 5772245 h 5800534"/>
                  <a:gd name="connsiteX422" fmla="*/ 5149882 w 5402008"/>
                  <a:gd name="connsiteY422" fmla="*/ 5690616 h 5800534"/>
                  <a:gd name="connsiteX423" fmla="*/ 5154549 w 5402008"/>
                  <a:gd name="connsiteY423" fmla="*/ 5663089 h 5800534"/>
                  <a:gd name="connsiteX424" fmla="*/ 5126927 w 5402008"/>
                  <a:gd name="connsiteY424" fmla="*/ 5658422 h 5800534"/>
                  <a:gd name="connsiteX425" fmla="*/ 4690206 w 5402008"/>
                  <a:gd name="connsiteY425" fmla="*/ 19717 h 5800534"/>
                  <a:gd name="connsiteX426" fmla="*/ 4670489 w 5402008"/>
                  <a:gd name="connsiteY426" fmla="*/ 0 h 5800534"/>
                  <a:gd name="connsiteX427" fmla="*/ 4493419 w 5402008"/>
                  <a:gd name="connsiteY427" fmla="*/ 0 h 5800534"/>
                  <a:gd name="connsiteX428" fmla="*/ 4473702 w 5402008"/>
                  <a:gd name="connsiteY428" fmla="*/ 19717 h 5800534"/>
                  <a:gd name="connsiteX429" fmla="*/ 4493419 w 5402008"/>
                  <a:gd name="connsiteY429" fmla="*/ 39434 h 5800534"/>
                  <a:gd name="connsiteX430" fmla="*/ 4670489 w 5402008"/>
                  <a:gd name="connsiteY430" fmla="*/ 39434 h 5800534"/>
                  <a:gd name="connsiteX431" fmla="*/ 4690206 w 5402008"/>
                  <a:gd name="connsiteY431" fmla="*/ 19717 h 5800534"/>
                  <a:gd name="connsiteX432" fmla="*/ 4449890 w 5402008"/>
                  <a:gd name="connsiteY432" fmla="*/ 5761101 h 5800534"/>
                  <a:gd name="connsiteX433" fmla="*/ 4272820 w 5402008"/>
                  <a:gd name="connsiteY433" fmla="*/ 5761101 h 5800534"/>
                  <a:gd name="connsiteX434" fmla="*/ 4253103 w 5402008"/>
                  <a:gd name="connsiteY434" fmla="*/ 5780818 h 5800534"/>
                  <a:gd name="connsiteX435" fmla="*/ 4272820 w 5402008"/>
                  <a:gd name="connsiteY435" fmla="*/ 5800535 h 5800534"/>
                  <a:gd name="connsiteX436" fmla="*/ 4449890 w 5402008"/>
                  <a:gd name="connsiteY436" fmla="*/ 5800535 h 5800534"/>
                  <a:gd name="connsiteX437" fmla="*/ 4469606 w 5402008"/>
                  <a:gd name="connsiteY437" fmla="*/ 5780818 h 5800534"/>
                  <a:gd name="connsiteX438" fmla="*/ 4449890 w 5402008"/>
                  <a:gd name="connsiteY438" fmla="*/ 5761101 h 58005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</a:cxnLst>
                <a:rect l="l" t="t" r="r" b="b"/>
                <a:pathLst>
                  <a:path w="5402008" h="5800534">
                    <a:moveTo>
                      <a:pt x="1147858" y="19717"/>
                    </a:moveTo>
                    <a:cubicBezTo>
                      <a:pt x="1147858" y="8763"/>
                      <a:pt x="1139000" y="0"/>
                      <a:pt x="1128141" y="0"/>
                    </a:cubicBezTo>
                    <a:lnTo>
                      <a:pt x="950976" y="0"/>
                    </a:lnTo>
                    <a:cubicBezTo>
                      <a:pt x="940022" y="0"/>
                      <a:pt x="931259" y="8858"/>
                      <a:pt x="931259" y="19717"/>
                    </a:cubicBezTo>
                    <a:cubicBezTo>
                      <a:pt x="931259" y="30670"/>
                      <a:pt x="940118" y="39434"/>
                      <a:pt x="950976" y="39434"/>
                    </a:cubicBezTo>
                    <a:lnTo>
                      <a:pt x="1128141" y="39434"/>
                    </a:lnTo>
                    <a:cubicBezTo>
                      <a:pt x="1139000" y="39434"/>
                      <a:pt x="1147858" y="30670"/>
                      <a:pt x="1147858" y="19717"/>
                    </a:cubicBezTo>
                    <a:close/>
                    <a:moveTo>
                      <a:pt x="1261872" y="5761101"/>
                    </a:moveTo>
                    <a:lnTo>
                      <a:pt x="1084707" y="5761101"/>
                    </a:lnTo>
                    <a:cubicBezTo>
                      <a:pt x="1073753" y="5761101"/>
                      <a:pt x="1064990" y="5769959"/>
                      <a:pt x="1064990" y="5780818"/>
                    </a:cubicBezTo>
                    <a:cubicBezTo>
                      <a:pt x="1064990" y="5791772"/>
                      <a:pt x="1073849" y="5800535"/>
                      <a:pt x="1084707" y="5800535"/>
                    </a:cubicBezTo>
                    <a:lnTo>
                      <a:pt x="1261872" y="5800535"/>
                    </a:lnTo>
                    <a:cubicBezTo>
                      <a:pt x="1272826" y="5800535"/>
                      <a:pt x="1281589" y="5791677"/>
                      <a:pt x="1281589" y="5780818"/>
                    </a:cubicBezTo>
                    <a:cubicBezTo>
                      <a:pt x="1281589" y="5769959"/>
                      <a:pt x="1272731" y="5761101"/>
                      <a:pt x="1261872" y="5761101"/>
                    </a:cubicBezTo>
                    <a:close/>
                    <a:moveTo>
                      <a:pt x="907637" y="5761101"/>
                    </a:moveTo>
                    <a:lnTo>
                      <a:pt x="730472" y="5761101"/>
                    </a:lnTo>
                    <a:cubicBezTo>
                      <a:pt x="719519" y="5761101"/>
                      <a:pt x="710756" y="5769959"/>
                      <a:pt x="710756" y="5780818"/>
                    </a:cubicBezTo>
                    <a:cubicBezTo>
                      <a:pt x="710756" y="5791772"/>
                      <a:pt x="719614" y="5800535"/>
                      <a:pt x="730472" y="5800535"/>
                    </a:cubicBezTo>
                    <a:lnTo>
                      <a:pt x="907637" y="5800535"/>
                    </a:lnTo>
                    <a:cubicBezTo>
                      <a:pt x="918591" y="5800535"/>
                      <a:pt x="927354" y="5791677"/>
                      <a:pt x="927354" y="5780818"/>
                    </a:cubicBezTo>
                    <a:cubicBezTo>
                      <a:pt x="927354" y="5769959"/>
                      <a:pt x="918496" y="5761101"/>
                      <a:pt x="907637" y="5761101"/>
                    </a:cubicBezTo>
                    <a:close/>
                    <a:moveTo>
                      <a:pt x="441293" y="40767"/>
                    </a:moveTo>
                    <a:cubicBezTo>
                      <a:pt x="437960" y="30385"/>
                      <a:pt x="426911" y="24575"/>
                      <a:pt x="416433" y="27908"/>
                    </a:cubicBezTo>
                    <a:cubicBezTo>
                      <a:pt x="358140" y="46482"/>
                      <a:pt x="303181" y="73819"/>
                      <a:pt x="253079" y="109157"/>
                    </a:cubicBezTo>
                    <a:cubicBezTo>
                      <a:pt x="244126" y="115443"/>
                      <a:pt x="242030" y="127826"/>
                      <a:pt x="248317" y="136684"/>
                    </a:cubicBezTo>
                    <a:cubicBezTo>
                      <a:pt x="252127" y="142113"/>
                      <a:pt x="258318" y="145066"/>
                      <a:pt x="264509" y="145066"/>
                    </a:cubicBezTo>
                    <a:cubicBezTo>
                      <a:pt x="268415" y="145066"/>
                      <a:pt x="272415" y="143923"/>
                      <a:pt x="275939" y="141446"/>
                    </a:cubicBezTo>
                    <a:cubicBezTo>
                      <a:pt x="322707" y="108395"/>
                      <a:pt x="374047" y="82868"/>
                      <a:pt x="428435" y="65532"/>
                    </a:cubicBezTo>
                    <a:cubicBezTo>
                      <a:pt x="438912" y="62294"/>
                      <a:pt x="444627" y="51149"/>
                      <a:pt x="441293" y="40767"/>
                    </a:cubicBezTo>
                    <a:close/>
                    <a:moveTo>
                      <a:pt x="2678716" y="5761101"/>
                    </a:moveTo>
                    <a:lnTo>
                      <a:pt x="2501551" y="5761101"/>
                    </a:lnTo>
                    <a:cubicBezTo>
                      <a:pt x="2490597" y="5761101"/>
                      <a:pt x="2481834" y="5769959"/>
                      <a:pt x="2481834" y="5780818"/>
                    </a:cubicBezTo>
                    <a:cubicBezTo>
                      <a:pt x="2481834" y="5791772"/>
                      <a:pt x="2490692" y="5800535"/>
                      <a:pt x="2501551" y="5800535"/>
                    </a:cubicBezTo>
                    <a:lnTo>
                      <a:pt x="2678716" y="5800535"/>
                    </a:lnTo>
                    <a:cubicBezTo>
                      <a:pt x="2689670" y="5800535"/>
                      <a:pt x="2698433" y="5791677"/>
                      <a:pt x="2698433" y="5780818"/>
                    </a:cubicBezTo>
                    <a:cubicBezTo>
                      <a:pt x="2698528" y="5769959"/>
                      <a:pt x="2689670" y="5761101"/>
                      <a:pt x="2678716" y="5761101"/>
                    </a:cubicBezTo>
                    <a:close/>
                    <a:moveTo>
                      <a:pt x="793623" y="19717"/>
                    </a:moveTo>
                    <a:cubicBezTo>
                      <a:pt x="793623" y="8763"/>
                      <a:pt x="784765" y="0"/>
                      <a:pt x="773906" y="0"/>
                    </a:cubicBezTo>
                    <a:lnTo>
                      <a:pt x="596741" y="0"/>
                    </a:lnTo>
                    <a:cubicBezTo>
                      <a:pt x="585788" y="0"/>
                      <a:pt x="577025" y="8858"/>
                      <a:pt x="577025" y="19717"/>
                    </a:cubicBezTo>
                    <a:cubicBezTo>
                      <a:pt x="577025" y="30670"/>
                      <a:pt x="585883" y="39434"/>
                      <a:pt x="596741" y="39434"/>
                    </a:cubicBezTo>
                    <a:lnTo>
                      <a:pt x="773906" y="39434"/>
                    </a:lnTo>
                    <a:cubicBezTo>
                      <a:pt x="784765" y="39434"/>
                      <a:pt x="793623" y="30670"/>
                      <a:pt x="793623" y="19717"/>
                    </a:cubicBezTo>
                    <a:close/>
                    <a:moveTo>
                      <a:pt x="1502093" y="19717"/>
                    </a:moveTo>
                    <a:cubicBezTo>
                      <a:pt x="1502093" y="8763"/>
                      <a:pt x="1493234" y="0"/>
                      <a:pt x="1482376" y="0"/>
                    </a:cubicBezTo>
                    <a:lnTo>
                      <a:pt x="1305306" y="0"/>
                    </a:lnTo>
                    <a:cubicBezTo>
                      <a:pt x="1294352" y="0"/>
                      <a:pt x="1285589" y="8858"/>
                      <a:pt x="1285589" y="19717"/>
                    </a:cubicBezTo>
                    <a:cubicBezTo>
                      <a:pt x="1285589" y="30670"/>
                      <a:pt x="1294448" y="39434"/>
                      <a:pt x="1305306" y="39434"/>
                    </a:cubicBezTo>
                    <a:lnTo>
                      <a:pt x="1482376" y="39434"/>
                    </a:lnTo>
                    <a:cubicBezTo>
                      <a:pt x="1493234" y="39434"/>
                      <a:pt x="1502093" y="30670"/>
                      <a:pt x="1502093" y="19717"/>
                    </a:cubicBezTo>
                    <a:close/>
                    <a:moveTo>
                      <a:pt x="2324481" y="5761101"/>
                    </a:moveTo>
                    <a:lnTo>
                      <a:pt x="2147316" y="5761101"/>
                    </a:lnTo>
                    <a:cubicBezTo>
                      <a:pt x="2136362" y="5761101"/>
                      <a:pt x="2127599" y="5769959"/>
                      <a:pt x="2127599" y="5780818"/>
                    </a:cubicBezTo>
                    <a:cubicBezTo>
                      <a:pt x="2127599" y="5791772"/>
                      <a:pt x="2136458" y="5800535"/>
                      <a:pt x="2147316" y="5800535"/>
                    </a:cubicBezTo>
                    <a:lnTo>
                      <a:pt x="2324481" y="5800535"/>
                    </a:lnTo>
                    <a:cubicBezTo>
                      <a:pt x="2335435" y="5800535"/>
                      <a:pt x="2344198" y="5791677"/>
                      <a:pt x="2344198" y="5780818"/>
                    </a:cubicBezTo>
                    <a:cubicBezTo>
                      <a:pt x="2344293" y="5769959"/>
                      <a:pt x="2335435" y="5761101"/>
                      <a:pt x="2324481" y="5761101"/>
                    </a:cubicBezTo>
                    <a:close/>
                    <a:moveTo>
                      <a:pt x="2564797" y="19717"/>
                    </a:moveTo>
                    <a:cubicBezTo>
                      <a:pt x="2564797" y="8763"/>
                      <a:pt x="2555939" y="0"/>
                      <a:pt x="2545080" y="0"/>
                    </a:cubicBezTo>
                    <a:lnTo>
                      <a:pt x="2367915" y="0"/>
                    </a:lnTo>
                    <a:cubicBezTo>
                      <a:pt x="2356961" y="0"/>
                      <a:pt x="2348198" y="8858"/>
                      <a:pt x="2348198" y="19717"/>
                    </a:cubicBezTo>
                    <a:cubicBezTo>
                      <a:pt x="2348198" y="30670"/>
                      <a:pt x="2357057" y="39434"/>
                      <a:pt x="2367915" y="39434"/>
                    </a:cubicBezTo>
                    <a:lnTo>
                      <a:pt x="2545080" y="39434"/>
                    </a:lnTo>
                    <a:cubicBezTo>
                      <a:pt x="2555939" y="39434"/>
                      <a:pt x="2564797" y="30670"/>
                      <a:pt x="2564797" y="19717"/>
                    </a:cubicBezTo>
                    <a:close/>
                    <a:moveTo>
                      <a:pt x="129254" y="5506403"/>
                    </a:moveTo>
                    <a:cubicBezTo>
                      <a:pt x="123349" y="5497259"/>
                      <a:pt x="111062" y="5494687"/>
                      <a:pt x="101918" y="5500592"/>
                    </a:cubicBezTo>
                    <a:cubicBezTo>
                      <a:pt x="92774" y="5506498"/>
                      <a:pt x="90202" y="5518785"/>
                      <a:pt x="96107" y="5527930"/>
                    </a:cubicBezTo>
                    <a:cubicBezTo>
                      <a:pt x="129445" y="5579269"/>
                      <a:pt x="170307" y="5624989"/>
                      <a:pt x="217551" y="5664042"/>
                    </a:cubicBezTo>
                    <a:cubicBezTo>
                      <a:pt x="221266" y="5667090"/>
                      <a:pt x="225647" y="5668613"/>
                      <a:pt x="230124" y="5668613"/>
                    </a:cubicBezTo>
                    <a:cubicBezTo>
                      <a:pt x="235839" y="5668613"/>
                      <a:pt x="241459" y="5666137"/>
                      <a:pt x="245364" y="5661470"/>
                    </a:cubicBezTo>
                    <a:cubicBezTo>
                      <a:pt x="252317" y="5653088"/>
                      <a:pt x="251079" y="5640610"/>
                      <a:pt x="242697" y="5633657"/>
                    </a:cubicBezTo>
                    <a:cubicBezTo>
                      <a:pt x="198501" y="5597176"/>
                      <a:pt x="160401" y="5554409"/>
                      <a:pt x="129254" y="5506403"/>
                    </a:cubicBezTo>
                    <a:close/>
                    <a:moveTo>
                      <a:pt x="2210562" y="19717"/>
                    </a:moveTo>
                    <a:cubicBezTo>
                      <a:pt x="2210562" y="8763"/>
                      <a:pt x="2201704" y="0"/>
                      <a:pt x="2190845" y="0"/>
                    </a:cubicBezTo>
                    <a:lnTo>
                      <a:pt x="2013776" y="0"/>
                    </a:lnTo>
                    <a:cubicBezTo>
                      <a:pt x="2002822" y="0"/>
                      <a:pt x="1994059" y="8858"/>
                      <a:pt x="1994059" y="19717"/>
                    </a:cubicBezTo>
                    <a:cubicBezTo>
                      <a:pt x="1994059" y="30670"/>
                      <a:pt x="2002917" y="39434"/>
                      <a:pt x="2013776" y="39434"/>
                    </a:cubicBezTo>
                    <a:lnTo>
                      <a:pt x="2190845" y="39434"/>
                    </a:lnTo>
                    <a:cubicBezTo>
                      <a:pt x="2201704" y="39434"/>
                      <a:pt x="2210562" y="30670"/>
                      <a:pt x="2210562" y="19717"/>
                    </a:cubicBezTo>
                    <a:close/>
                    <a:moveTo>
                      <a:pt x="1970246" y="5761101"/>
                    </a:moveTo>
                    <a:lnTo>
                      <a:pt x="1793177" y="5761101"/>
                    </a:lnTo>
                    <a:cubicBezTo>
                      <a:pt x="1782223" y="5761101"/>
                      <a:pt x="1773460" y="5769959"/>
                      <a:pt x="1773460" y="5780818"/>
                    </a:cubicBezTo>
                    <a:cubicBezTo>
                      <a:pt x="1773460" y="5791772"/>
                      <a:pt x="1782318" y="5800535"/>
                      <a:pt x="1793177" y="5800535"/>
                    </a:cubicBezTo>
                    <a:lnTo>
                      <a:pt x="1970246" y="5800535"/>
                    </a:lnTo>
                    <a:cubicBezTo>
                      <a:pt x="1981200" y="5800535"/>
                      <a:pt x="1989963" y="5791677"/>
                      <a:pt x="1989963" y="5780818"/>
                    </a:cubicBezTo>
                    <a:cubicBezTo>
                      <a:pt x="1990058" y="5769959"/>
                      <a:pt x="1981200" y="5761101"/>
                      <a:pt x="1970246" y="5761101"/>
                    </a:cubicBezTo>
                    <a:close/>
                    <a:moveTo>
                      <a:pt x="1616012" y="5761101"/>
                    </a:moveTo>
                    <a:lnTo>
                      <a:pt x="1438942" y="5761101"/>
                    </a:lnTo>
                    <a:cubicBezTo>
                      <a:pt x="1427988" y="5761101"/>
                      <a:pt x="1419225" y="5769959"/>
                      <a:pt x="1419225" y="5780818"/>
                    </a:cubicBezTo>
                    <a:cubicBezTo>
                      <a:pt x="1419225" y="5791772"/>
                      <a:pt x="1428083" y="5800535"/>
                      <a:pt x="1438942" y="5800535"/>
                    </a:cubicBezTo>
                    <a:lnTo>
                      <a:pt x="1616012" y="5800535"/>
                    </a:lnTo>
                    <a:cubicBezTo>
                      <a:pt x="1626965" y="5800535"/>
                      <a:pt x="1635728" y="5791677"/>
                      <a:pt x="1635728" y="5780818"/>
                    </a:cubicBezTo>
                    <a:cubicBezTo>
                      <a:pt x="1635824" y="5769959"/>
                      <a:pt x="1626965" y="5761101"/>
                      <a:pt x="1616012" y="5761101"/>
                    </a:cubicBezTo>
                    <a:close/>
                    <a:moveTo>
                      <a:pt x="1856327" y="19717"/>
                    </a:moveTo>
                    <a:cubicBezTo>
                      <a:pt x="1856327" y="8763"/>
                      <a:pt x="1847469" y="0"/>
                      <a:pt x="1836611" y="0"/>
                    </a:cubicBezTo>
                    <a:lnTo>
                      <a:pt x="1659541" y="0"/>
                    </a:lnTo>
                    <a:cubicBezTo>
                      <a:pt x="1648587" y="0"/>
                      <a:pt x="1639824" y="8858"/>
                      <a:pt x="1639824" y="19717"/>
                    </a:cubicBezTo>
                    <a:cubicBezTo>
                      <a:pt x="1639824" y="30670"/>
                      <a:pt x="1648682" y="39434"/>
                      <a:pt x="1659541" y="39434"/>
                    </a:cubicBezTo>
                    <a:lnTo>
                      <a:pt x="1836611" y="39434"/>
                    </a:lnTo>
                    <a:cubicBezTo>
                      <a:pt x="1847469" y="39434"/>
                      <a:pt x="1856327" y="30670"/>
                      <a:pt x="1856327" y="19717"/>
                    </a:cubicBezTo>
                    <a:close/>
                    <a:moveTo>
                      <a:pt x="554927" y="5759482"/>
                    </a:moveTo>
                    <a:cubicBezTo>
                      <a:pt x="497776" y="5755101"/>
                      <a:pt x="441960" y="5742147"/>
                      <a:pt x="389096" y="5720715"/>
                    </a:cubicBezTo>
                    <a:cubicBezTo>
                      <a:pt x="379000" y="5716620"/>
                      <a:pt x="367475" y="5721572"/>
                      <a:pt x="363379" y="5731669"/>
                    </a:cubicBezTo>
                    <a:cubicBezTo>
                      <a:pt x="359283" y="5741765"/>
                      <a:pt x="364141" y="5753291"/>
                      <a:pt x="374333" y="5757386"/>
                    </a:cubicBezTo>
                    <a:cubicBezTo>
                      <a:pt x="431006" y="5780247"/>
                      <a:pt x="490728" y="5794248"/>
                      <a:pt x="551974" y="5798915"/>
                    </a:cubicBezTo>
                    <a:cubicBezTo>
                      <a:pt x="552450" y="5798915"/>
                      <a:pt x="553022" y="5799011"/>
                      <a:pt x="553498" y="5799011"/>
                    </a:cubicBezTo>
                    <a:cubicBezTo>
                      <a:pt x="563690" y="5799011"/>
                      <a:pt x="572357" y="5791105"/>
                      <a:pt x="573215" y="5780723"/>
                    </a:cubicBezTo>
                    <a:cubicBezTo>
                      <a:pt x="573977" y="5769769"/>
                      <a:pt x="565785" y="5760339"/>
                      <a:pt x="554927" y="5759482"/>
                    </a:cubicBezTo>
                    <a:close/>
                    <a:moveTo>
                      <a:pt x="19717" y="2189893"/>
                    </a:moveTo>
                    <a:cubicBezTo>
                      <a:pt x="30671" y="2189893"/>
                      <a:pt x="39434" y="2181035"/>
                      <a:pt x="39434" y="2170176"/>
                    </a:cubicBezTo>
                    <a:lnTo>
                      <a:pt x="39434" y="1993011"/>
                    </a:lnTo>
                    <a:cubicBezTo>
                      <a:pt x="39434" y="1982057"/>
                      <a:pt x="30575" y="1973294"/>
                      <a:pt x="19717" y="1973294"/>
                    </a:cubicBezTo>
                    <a:cubicBezTo>
                      <a:pt x="8763" y="1973294"/>
                      <a:pt x="0" y="1982153"/>
                      <a:pt x="0" y="1993011"/>
                    </a:cubicBezTo>
                    <a:lnTo>
                      <a:pt x="0" y="2170176"/>
                    </a:lnTo>
                    <a:cubicBezTo>
                      <a:pt x="0" y="2181035"/>
                      <a:pt x="8858" y="2189893"/>
                      <a:pt x="19717" y="2189893"/>
                    </a:cubicBezTo>
                    <a:close/>
                    <a:moveTo>
                      <a:pt x="19717" y="2544127"/>
                    </a:moveTo>
                    <a:cubicBezTo>
                      <a:pt x="30671" y="2544127"/>
                      <a:pt x="39434" y="2535269"/>
                      <a:pt x="39434" y="2524411"/>
                    </a:cubicBezTo>
                    <a:lnTo>
                      <a:pt x="39434" y="2347341"/>
                    </a:lnTo>
                    <a:cubicBezTo>
                      <a:pt x="39434" y="2336387"/>
                      <a:pt x="30575" y="2327624"/>
                      <a:pt x="19717" y="2327624"/>
                    </a:cubicBezTo>
                    <a:cubicBezTo>
                      <a:pt x="8763" y="2327624"/>
                      <a:pt x="0" y="2336483"/>
                      <a:pt x="0" y="2347341"/>
                    </a:cubicBezTo>
                    <a:lnTo>
                      <a:pt x="0" y="2524411"/>
                    </a:lnTo>
                    <a:cubicBezTo>
                      <a:pt x="0" y="2535269"/>
                      <a:pt x="8858" y="2544127"/>
                      <a:pt x="19717" y="2544127"/>
                    </a:cubicBezTo>
                    <a:close/>
                    <a:moveTo>
                      <a:pt x="19717" y="1835658"/>
                    </a:moveTo>
                    <a:cubicBezTo>
                      <a:pt x="30671" y="1835658"/>
                      <a:pt x="39434" y="1826800"/>
                      <a:pt x="39434" y="1815941"/>
                    </a:cubicBezTo>
                    <a:lnTo>
                      <a:pt x="39434" y="1638776"/>
                    </a:lnTo>
                    <a:cubicBezTo>
                      <a:pt x="39434" y="1627823"/>
                      <a:pt x="30575" y="1619060"/>
                      <a:pt x="19717" y="1619060"/>
                    </a:cubicBezTo>
                    <a:cubicBezTo>
                      <a:pt x="8763" y="1619060"/>
                      <a:pt x="0" y="1627918"/>
                      <a:pt x="0" y="1638776"/>
                    </a:cubicBezTo>
                    <a:lnTo>
                      <a:pt x="0" y="1815941"/>
                    </a:lnTo>
                    <a:cubicBezTo>
                      <a:pt x="0" y="1826800"/>
                      <a:pt x="8858" y="1835658"/>
                      <a:pt x="19717" y="1835658"/>
                    </a:cubicBezTo>
                    <a:close/>
                    <a:moveTo>
                      <a:pt x="19717" y="772954"/>
                    </a:moveTo>
                    <a:cubicBezTo>
                      <a:pt x="30671" y="772954"/>
                      <a:pt x="39434" y="764096"/>
                      <a:pt x="39434" y="753237"/>
                    </a:cubicBezTo>
                    <a:lnTo>
                      <a:pt x="39434" y="597789"/>
                    </a:lnTo>
                    <a:cubicBezTo>
                      <a:pt x="39434" y="590741"/>
                      <a:pt x="39529" y="583787"/>
                      <a:pt x="39815" y="576739"/>
                    </a:cubicBezTo>
                    <a:cubicBezTo>
                      <a:pt x="40195" y="565880"/>
                      <a:pt x="31718" y="556641"/>
                      <a:pt x="20765" y="556260"/>
                    </a:cubicBezTo>
                    <a:cubicBezTo>
                      <a:pt x="10001" y="555879"/>
                      <a:pt x="667" y="564356"/>
                      <a:pt x="286" y="575310"/>
                    </a:cubicBezTo>
                    <a:cubicBezTo>
                      <a:pt x="95" y="582835"/>
                      <a:pt x="0" y="590264"/>
                      <a:pt x="0" y="597789"/>
                    </a:cubicBezTo>
                    <a:lnTo>
                      <a:pt x="0" y="753142"/>
                    </a:lnTo>
                    <a:cubicBezTo>
                      <a:pt x="0" y="764096"/>
                      <a:pt x="8858" y="772954"/>
                      <a:pt x="19717" y="772954"/>
                    </a:cubicBezTo>
                    <a:close/>
                    <a:moveTo>
                      <a:pt x="19717" y="1481423"/>
                    </a:moveTo>
                    <a:cubicBezTo>
                      <a:pt x="30671" y="1481423"/>
                      <a:pt x="39434" y="1472565"/>
                      <a:pt x="39434" y="1461707"/>
                    </a:cubicBezTo>
                    <a:lnTo>
                      <a:pt x="39434" y="1284637"/>
                    </a:lnTo>
                    <a:cubicBezTo>
                      <a:pt x="39434" y="1273683"/>
                      <a:pt x="30575" y="1264920"/>
                      <a:pt x="19717" y="1264920"/>
                    </a:cubicBezTo>
                    <a:cubicBezTo>
                      <a:pt x="8763" y="1264920"/>
                      <a:pt x="0" y="1273778"/>
                      <a:pt x="0" y="1284637"/>
                    </a:cubicBezTo>
                    <a:lnTo>
                      <a:pt x="0" y="1461707"/>
                    </a:lnTo>
                    <a:cubicBezTo>
                      <a:pt x="0" y="1472565"/>
                      <a:pt x="8858" y="1481423"/>
                      <a:pt x="19717" y="1481423"/>
                    </a:cubicBezTo>
                    <a:close/>
                    <a:moveTo>
                      <a:pt x="19717" y="2898362"/>
                    </a:moveTo>
                    <a:cubicBezTo>
                      <a:pt x="30671" y="2898362"/>
                      <a:pt x="39434" y="2889504"/>
                      <a:pt x="39434" y="2878646"/>
                    </a:cubicBezTo>
                    <a:lnTo>
                      <a:pt x="39434" y="2701481"/>
                    </a:lnTo>
                    <a:cubicBezTo>
                      <a:pt x="39434" y="2690527"/>
                      <a:pt x="30575" y="2681764"/>
                      <a:pt x="19717" y="2681764"/>
                    </a:cubicBezTo>
                    <a:cubicBezTo>
                      <a:pt x="8763" y="2681764"/>
                      <a:pt x="0" y="2690622"/>
                      <a:pt x="0" y="2701481"/>
                    </a:cubicBezTo>
                    <a:lnTo>
                      <a:pt x="0" y="2878646"/>
                    </a:lnTo>
                    <a:cubicBezTo>
                      <a:pt x="0" y="2889504"/>
                      <a:pt x="8858" y="2898362"/>
                      <a:pt x="19717" y="2898362"/>
                    </a:cubicBezTo>
                    <a:close/>
                    <a:moveTo>
                      <a:pt x="19717" y="1127189"/>
                    </a:moveTo>
                    <a:cubicBezTo>
                      <a:pt x="30671" y="1127189"/>
                      <a:pt x="39434" y="1118330"/>
                      <a:pt x="39434" y="1107472"/>
                    </a:cubicBezTo>
                    <a:lnTo>
                      <a:pt x="39434" y="930307"/>
                    </a:lnTo>
                    <a:cubicBezTo>
                      <a:pt x="39434" y="919353"/>
                      <a:pt x="30575" y="910590"/>
                      <a:pt x="19717" y="910590"/>
                    </a:cubicBezTo>
                    <a:cubicBezTo>
                      <a:pt x="8763" y="910590"/>
                      <a:pt x="0" y="919448"/>
                      <a:pt x="0" y="930307"/>
                    </a:cubicBezTo>
                    <a:lnTo>
                      <a:pt x="0" y="1107472"/>
                    </a:lnTo>
                    <a:cubicBezTo>
                      <a:pt x="0" y="1118330"/>
                      <a:pt x="8858" y="1127189"/>
                      <a:pt x="19717" y="1127189"/>
                    </a:cubicBezTo>
                    <a:close/>
                    <a:moveTo>
                      <a:pt x="19717" y="3961067"/>
                    </a:moveTo>
                    <a:cubicBezTo>
                      <a:pt x="30671" y="3961067"/>
                      <a:pt x="39434" y="3952208"/>
                      <a:pt x="39434" y="3941350"/>
                    </a:cubicBezTo>
                    <a:lnTo>
                      <a:pt x="39434" y="3764185"/>
                    </a:lnTo>
                    <a:cubicBezTo>
                      <a:pt x="39434" y="3753231"/>
                      <a:pt x="30575" y="3744468"/>
                      <a:pt x="19717" y="3744468"/>
                    </a:cubicBezTo>
                    <a:cubicBezTo>
                      <a:pt x="8763" y="3744468"/>
                      <a:pt x="0" y="3753326"/>
                      <a:pt x="0" y="3764185"/>
                    </a:cubicBezTo>
                    <a:lnTo>
                      <a:pt x="0" y="3941350"/>
                    </a:lnTo>
                    <a:cubicBezTo>
                      <a:pt x="0" y="3952208"/>
                      <a:pt x="8858" y="3961067"/>
                      <a:pt x="19717" y="3961067"/>
                    </a:cubicBezTo>
                    <a:close/>
                    <a:moveTo>
                      <a:pt x="19717" y="5023771"/>
                    </a:moveTo>
                    <a:cubicBezTo>
                      <a:pt x="30671" y="5023771"/>
                      <a:pt x="39434" y="5014913"/>
                      <a:pt x="39434" y="5004055"/>
                    </a:cubicBezTo>
                    <a:lnTo>
                      <a:pt x="39434" y="4826889"/>
                    </a:lnTo>
                    <a:cubicBezTo>
                      <a:pt x="39434" y="4815935"/>
                      <a:pt x="30575" y="4807173"/>
                      <a:pt x="19717" y="4807173"/>
                    </a:cubicBezTo>
                    <a:cubicBezTo>
                      <a:pt x="8763" y="4807173"/>
                      <a:pt x="0" y="4816031"/>
                      <a:pt x="0" y="4826889"/>
                    </a:cubicBezTo>
                    <a:lnTo>
                      <a:pt x="0" y="5004055"/>
                    </a:lnTo>
                    <a:cubicBezTo>
                      <a:pt x="0" y="5014913"/>
                      <a:pt x="8858" y="5023771"/>
                      <a:pt x="19717" y="5023771"/>
                    </a:cubicBezTo>
                    <a:close/>
                    <a:moveTo>
                      <a:pt x="19717" y="4669536"/>
                    </a:moveTo>
                    <a:cubicBezTo>
                      <a:pt x="30671" y="4669536"/>
                      <a:pt x="39434" y="4660678"/>
                      <a:pt x="39434" y="4649819"/>
                    </a:cubicBezTo>
                    <a:lnTo>
                      <a:pt x="39434" y="4472654"/>
                    </a:lnTo>
                    <a:cubicBezTo>
                      <a:pt x="39434" y="4461701"/>
                      <a:pt x="30575" y="4452938"/>
                      <a:pt x="19717" y="4452938"/>
                    </a:cubicBezTo>
                    <a:cubicBezTo>
                      <a:pt x="8763" y="4452938"/>
                      <a:pt x="0" y="4461796"/>
                      <a:pt x="0" y="4472654"/>
                    </a:cubicBezTo>
                    <a:lnTo>
                      <a:pt x="0" y="4649819"/>
                    </a:lnTo>
                    <a:cubicBezTo>
                      <a:pt x="0" y="4660678"/>
                      <a:pt x="8858" y="4669536"/>
                      <a:pt x="19717" y="4669536"/>
                    </a:cubicBezTo>
                    <a:close/>
                    <a:moveTo>
                      <a:pt x="39529" y="5202746"/>
                    </a:moveTo>
                    <a:lnTo>
                      <a:pt x="39529" y="5181124"/>
                    </a:lnTo>
                    <a:cubicBezTo>
                      <a:pt x="39529" y="5170171"/>
                      <a:pt x="30671" y="5161407"/>
                      <a:pt x="19812" y="5161407"/>
                    </a:cubicBezTo>
                    <a:cubicBezTo>
                      <a:pt x="8858" y="5161407"/>
                      <a:pt x="95" y="5170265"/>
                      <a:pt x="95" y="5181124"/>
                    </a:cubicBezTo>
                    <a:lnTo>
                      <a:pt x="95" y="5202746"/>
                    </a:lnTo>
                    <a:cubicBezTo>
                      <a:pt x="95" y="5256657"/>
                      <a:pt x="7239" y="5310092"/>
                      <a:pt x="21431" y="5361527"/>
                    </a:cubicBezTo>
                    <a:cubicBezTo>
                      <a:pt x="23813" y="5370290"/>
                      <a:pt x="31814" y="5376101"/>
                      <a:pt x="40481" y="5376101"/>
                    </a:cubicBezTo>
                    <a:cubicBezTo>
                      <a:pt x="42196" y="5376101"/>
                      <a:pt x="44006" y="5375910"/>
                      <a:pt x="45720" y="5375339"/>
                    </a:cubicBezTo>
                    <a:cubicBezTo>
                      <a:pt x="56198" y="5372481"/>
                      <a:pt x="62389" y="5361527"/>
                      <a:pt x="59531" y="5351050"/>
                    </a:cubicBezTo>
                    <a:cubicBezTo>
                      <a:pt x="46196" y="5303044"/>
                      <a:pt x="39529" y="5253133"/>
                      <a:pt x="39529" y="5202746"/>
                    </a:cubicBezTo>
                    <a:close/>
                    <a:moveTo>
                      <a:pt x="149638" y="232124"/>
                    </a:moveTo>
                    <a:cubicBezTo>
                      <a:pt x="140970" y="225552"/>
                      <a:pt x="128588" y="227267"/>
                      <a:pt x="121920" y="235934"/>
                    </a:cubicBezTo>
                    <a:cubicBezTo>
                      <a:pt x="84773" y="284798"/>
                      <a:pt x="55436" y="338709"/>
                      <a:pt x="34862" y="396240"/>
                    </a:cubicBezTo>
                    <a:cubicBezTo>
                      <a:pt x="31147" y="406527"/>
                      <a:pt x="36481" y="417862"/>
                      <a:pt x="46768" y="421481"/>
                    </a:cubicBezTo>
                    <a:cubicBezTo>
                      <a:pt x="48959" y="422243"/>
                      <a:pt x="51245" y="422624"/>
                      <a:pt x="53435" y="422624"/>
                    </a:cubicBezTo>
                    <a:cubicBezTo>
                      <a:pt x="61532" y="422624"/>
                      <a:pt x="69152" y="417576"/>
                      <a:pt x="72009" y="409480"/>
                    </a:cubicBezTo>
                    <a:cubicBezTo>
                      <a:pt x="91250" y="355759"/>
                      <a:pt x="118586" y="305372"/>
                      <a:pt x="153353" y="259842"/>
                    </a:cubicBezTo>
                    <a:cubicBezTo>
                      <a:pt x="160020" y="251174"/>
                      <a:pt x="158306" y="238792"/>
                      <a:pt x="149638" y="232124"/>
                    </a:cubicBezTo>
                    <a:close/>
                    <a:moveTo>
                      <a:pt x="19717" y="4315301"/>
                    </a:moveTo>
                    <a:cubicBezTo>
                      <a:pt x="30671" y="4315301"/>
                      <a:pt x="39434" y="4306443"/>
                      <a:pt x="39434" y="4295585"/>
                    </a:cubicBezTo>
                    <a:lnTo>
                      <a:pt x="39434" y="4118515"/>
                    </a:lnTo>
                    <a:cubicBezTo>
                      <a:pt x="39434" y="4107561"/>
                      <a:pt x="30575" y="4098798"/>
                      <a:pt x="19717" y="4098798"/>
                    </a:cubicBezTo>
                    <a:cubicBezTo>
                      <a:pt x="8763" y="4098798"/>
                      <a:pt x="0" y="4107656"/>
                      <a:pt x="0" y="4118515"/>
                    </a:cubicBezTo>
                    <a:lnTo>
                      <a:pt x="0" y="4295585"/>
                    </a:lnTo>
                    <a:cubicBezTo>
                      <a:pt x="0" y="4306443"/>
                      <a:pt x="8858" y="4315301"/>
                      <a:pt x="19717" y="4315301"/>
                    </a:cubicBezTo>
                    <a:close/>
                    <a:moveTo>
                      <a:pt x="19717" y="3606832"/>
                    </a:moveTo>
                    <a:cubicBezTo>
                      <a:pt x="30671" y="3606832"/>
                      <a:pt x="39434" y="3597974"/>
                      <a:pt x="39434" y="3587020"/>
                    </a:cubicBezTo>
                    <a:lnTo>
                      <a:pt x="39434" y="3409855"/>
                    </a:lnTo>
                    <a:cubicBezTo>
                      <a:pt x="39434" y="3398901"/>
                      <a:pt x="30575" y="3390138"/>
                      <a:pt x="19717" y="3390138"/>
                    </a:cubicBezTo>
                    <a:cubicBezTo>
                      <a:pt x="8763" y="3390138"/>
                      <a:pt x="0" y="3398996"/>
                      <a:pt x="0" y="3409855"/>
                    </a:cubicBezTo>
                    <a:lnTo>
                      <a:pt x="0" y="3587020"/>
                    </a:lnTo>
                    <a:cubicBezTo>
                      <a:pt x="0" y="3597974"/>
                      <a:pt x="8858" y="3606832"/>
                      <a:pt x="19717" y="3606832"/>
                    </a:cubicBezTo>
                    <a:close/>
                    <a:moveTo>
                      <a:pt x="19717" y="3252597"/>
                    </a:moveTo>
                    <a:cubicBezTo>
                      <a:pt x="30671" y="3252597"/>
                      <a:pt x="39434" y="3243739"/>
                      <a:pt x="39434" y="3232881"/>
                    </a:cubicBezTo>
                    <a:lnTo>
                      <a:pt x="39434" y="3055715"/>
                    </a:lnTo>
                    <a:cubicBezTo>
                      <a:pt x="39434" y="3044762"/>
                      <a:pt x="30575" y="3035999"/>
                      <a:pt x="19717" y="3035999"/>
                    </a:cubicBezTo>
                    <a:cubicBezTo>
                      <a:pt x="8763" y="3035999"/>
                      <a:pt x="0" y="3044857"/>
                      <a:pt x="0" y="3055715"/>
                    </a:cubicBezTo>
                    <a:lnTo>
                      <a:pt x="0" y="3232881"/>
                    </a:lnTo>
                    <a:cubicBezTo>
                      <a:pt x="0" y="3243739"/>
                      <a:pt x="8858" y="3252597"/>
                      <a:pt x="19717" y="3252597"/>
                    </a:cubicBezTo>
                    <a:close/>
                    <a:moveTo>
                      <a:pt x="5382292" y="3609594"/>
                    </a:moveTo>
                    <a:cubicBezTo>
                      <a:pt x="5371338" y="3609594"/>
                      <a:pt x="5362575" y="3618452"/>
                      <a:pt x="5362575" y="3629311"/>
                    </a:cubicBezTo>
                    <a:lnTo>
                      <a:pt x="5362575" y="3806381"/>
                    </a:lnTo>
                    <a:cubicBezTo>
                      <a:pt x="5362575" y="3817334"/>
                      <a:pt x="5371433" y="3826098"/>
                      <a:pt x="5382292" y="3826098"/>
                    </a:cubicBezTo>
                    <a:cubicBezTo>
                      <a:pt x="5393245" y="3826098"/>
                      <a:pt x="5402009" y="3817239"/>
                      <a:pt x="5402009" y="3806381"/>
                    </a:cubicBezTo>
                    <a:lnTo>
                      <a:pt x="5402009" y="3629311"/>
                    </a:lnTo>
                    <a:cubicBezTo>
                      <a:pt x="5402009" y="3618452"/>
                      <a:pt x="5393151" y="3609594"/>
                      <a:pt x="5382292" y="3609594"/>
                    </a:cubicBezTo>
                    <a:close/>
                    <a:moveTo>
                      <a:pt x="2919032" y="19717"/>
                    </a:moveTo>
                    <a:cubicBezTo>
                      <a:pt x="2919032" y="8763"/>
                      <a:pt x="2910173" y="0"/>
                      <a:pt x="2899315" y="0"/>
                    </a:cubicBezTo>
                    <a:lnTo>
                      <a:pt x="2722245" y="0"/>
                    </a:lnTo>
                    <a:cubicBezTo>
                      <a:pt x="2711291" y="0"/>
                      <a:pt x="2702528" y="8858"/>
                      <a:pt x="2702528" y="19717"/>
                    </a:cubicBezTo>
                    <a:cubicBezTo>
                      <a:pt x="2702528" y="30670"/>
                      <a:pt x="2711387" y="39434"/>
                      <a:pt x="2722245" y="39434"/>
                    </a:cubicBezTo>
                    <a:lnTo>
                      <a:pt x="2899315" y="39434"/>
                    </a:lnTo>
                    <a:cubicBezTo>
                      <a:pt x="2910173" y="39434"/>
                      <a:pt x="2919032" y="30670"/>
                      <a:pt x="2919032" y="19717"/>
                    </a:cubicBezTo>
                    <a:close/>
                    <a:moveTo>
                      <a:pt x="5382292" y="3963829"/>
                    </a:moveTo>
                    <a:cubicBezTo>
                      <a:pt x="5371338" y="3963829"/>
                      <a:pt x="5362575" y="3972687"/>
                      <a:pt x="5362575" y="3983546"/>
                    </a:cubicBezTo>
                    <a:lnTo>
                      <a:pt x="5362575" y="4160711"/>
                    </a:lnTo>
                    <a:cubicBezTo>
                      <a:pt x="5362575" y="4171664"/>
                      <a:pt x="5371433" y="4180427"/>
                      <a:pt x="5382292" y="4180427"/>
                    </a:cubicBezTo>
                    <a:cubicBezTo>
                      <a:pt x="5393245" y="4180427"/>
                      <a:pt x="5402009" y="4171569"/>
                      <a:pt x="5402009" y="4160711"/>
                    </a:cubicBezTo>
                    <a:lnTo>
                      <a:pt x="5402009" y="3983546"/>
                    </a:lnTo>
                    <a:cubicBezTo>
                      <a:pt x="5402009" y="3972687"/>
                      <a:pt x="5393151" y="3963829"/>
                      <a:pt x="5382292" y="3963829"/>
                    </a:cubicBezTo>
                    <a:close/>
                    <a:moveTo>
                      <a:pt x="5382292" y="4318064"/>
                    </a:moveTo>
                    <a:cubicBezTo>
                      <a:pt x="5371338" y="4318064"/>
                      <a:pt x="5362575" y="4326922"/>
                      <a:pt x="5362575" y="4337781"/>
                    </a:cubicBezTo>
                    <a:lnTo>
                      <a:pt x="5362575" y="4514945"/>
                    </a:lnTo>
                    <a:cubicBezTo>
                      <a:pt x="5362575" y="4525899"/>
                      <a:pt x="5371433" y="4534662"/>
                      <a:pt x="5382292" y="4534662"/>
                    </a:cubicBezTo>
                    <a:cubicBezTo>
                      <a:pt x="5393245" y="4534662"/>
                      <a:pt x="5402009" y="4525804"/>
                      <a:pt x="5402009" y="4514945"/>
                    </a:cubicBezTo>
                    <a:lnTo>
                      <a:pt x="5402009" y="4337781"/>
                    </a:lnTo>
                    <a:cubicBezTo>
                      <a:pt x="5402009" y="4326922"/>
                      <a:pt x="5393151" y="4318064"/>
                      <a:pt x="5382292" y="4318064"/>
                    </a:cubicBezTo>
                    <a:close/>
                    <a:moveTo>
                      <a:pt x="5382292" y="5026533"/>
                    </a:moveTo>
                    <a:cubicBezTo>
                      <a:pt x="5371338" y="5026533"/>
                      <a:pt x="5362575" y="5035392"/>
                      <a:pt x="5362575" y="5046250"/>
                    </a:cubicBezTo>
                    <a:lnTo>
                      <a:pt x="5362575" y="5202746"/>
                    </a:lnTo>
                    <a:cubicBezTo>
                      <a:pt x="5362575" y="5209413"/>
                      <a:pt x="5362480" y="5216081"/>
                      <a:pt x="5362194" y="5222748"/>
                    </a:cubicBezTo>
                    <a:cubicBezTo>
                      <a:pt x="5361813" y="5233607"/>
                      <a:pt x="5370290" y="5242846"/>
                      <a:pt x="5381244" y="5243227"/>
                    </a:cubicBezTo>
                    <a:cubicBezTo>
                      <a:pt x="5381435" y="5243227"/>
                      <a:pt x="5381721" y="5243227"/>
                      <a:pt x="5381911" y="5243227"/>
                    </a:cubicBezTo>
                    <a:cubicBezTo>
                      <a:pt x="5392484" y="5243227"/>
                      <a:pt x="5401247" y="5234845"/>
                      <a:pt x="5401628" y="5224177"/>
                    </a:cubicBezTo>
                    <a:cubicBezTo>
                      <a:pt x="5401914" y="5217129"/>
                      <a:pt x="5402009" y="5209985"/>
                      <a:pt x="5402009" y="5202841"/>
                    </a:cubicBezTo>
                    <a:lnTo>
                      <a:pt x="5402009" y="5046346"/>
                    </a:lnTo>
                    <a:cubicBezTo>
                      <a:pt x="5402009" y="5035392"/>
                      <a:pt x="5393151" y="5026533"/>
                      <a:pt x="5382292" y="5026533"/>
                    </a:cubicBezTo>
                    <a:close/>
                    <a:moveTo>
                      <a:pt x="5382292" y="4672299"/>
                    </a:moveTo>
                    <a:cubicBezTo>
                      <a:pt x="5371338" y="4672299"/>
                      <a:pt x="5362575" y="4681157"/>
                      <a:pt x="5362575" y="4692015"/>
                    </a:cubicBezTo>
                    <a:lnTo>
                      <a:pt x="5362575" y="4869085"/>
                    </a:lnTo>
                    <a:cubicBezTo>
                      <a:pt x="5362575" y="4880039"/>
                      <a:pt x="5371433" y="4888802"/>
                      <a:pt x="5382292" y="4888802"/>
                    </a:cubicBezTo>
                    <a:cubicBezTo>
                      <a:pt x="5393245" y="4888802"/>
                      <a:pt x="5402009" y="4879943"/>
                      <a:pt x="5402009" y="4869085"/>
                    </a:cubicBezTo>
                    <a:lnTo>
                      <a:pt x="5402009" y="4692015"/>
                    </a:lnTo>
                    <a:cubicBezTo>
                      <a:pt x="5402009" y="4681157"/>
                      <a:pt x="5393151" y="4672299"/>
                      <a:pt x="5382292" y="4672299"/>
                    </a:cubicBezTo>
                    <a:close/>
                    <a:moveTo>
                      <a:pt x="5382292" y="2901125"/>
                    </a:moveTo>
                    <a:cubicBezTo>
                      <a:pt x="5371338" y="2901125"/>
                      <a:pt x="5362575" y="2909983"/>
                      <a:pt x="5362575" y="2920841"/>
                    </a:cubicBezTo>
                    <a:lnTo>
                      <a:pt x="5362575" y="3097911"/>
                    </a:lnTo>
                    <a:cubicBezTo>
                      <a:pt x="5362575" y="3108865"/>
                      <a:pt x="5371433" y="3117628"/>
                      <a:pt x="5382292" y="3117628"/>
                    </a:cubicBezTo>
                    <a:cubicBezTo>
                      <a:pt x="5393245" y="3117628"/>
                      <a:pt x="5402009" y="3108769"/>
                      <a:pt x="5402009" y="3097911"/>
                    </a:cubicBezTo>
                    <a:lnTo>
                      <a:pt x="5402009" y="2920841"/>
                    </a:lnTo>
                    <a:cubicBezTo>
                      <a:pt x="5402009" y="2909983"/>
                      <a:pt x="5393151" y="2901125"/>
                      <a:pt x="5382292" y="2901125"/>
                    </a:cubicBezTo>
                    <a:close/>
                    <a:moveTo>
                      <a:pt x="5382292" y="2546890"/>
                    </a:moveTo>
                    <a:cubicBezTo>
                      <a:pt x="5371338" y="2546890"/>
                      <a:pt x="5362575" y="2555748"/>
                      <a:pt x="5362575" y="2566607"/>
                    </a:cubicBezTo>
                    <a:lnTo>
                      <a:pt x="5362575" y="2743772"/>
                    </a:lnTo>
                    <a:cubicBezTo>
                      <a:pt x="5362575" y="2754725"/>
                      <a:pt x="5371433" y="2763488"/>
                      <a:pt x="5382292" y="2763488"/>
                    </a:cubicBezTo>
                    <a:cubicBezTo>
                      <a:pt x="5393245" y="2763488"/>
                      <a:pt x="5402009" y="2754630"/>
                      <a:pt x="5402009" y="2743772"/>
                    </a:cubicBezTo>
                    <a:lnTo>
                      <a:pt x="5402009" y="2566607"/>
                    </a:lnTo>
                    <a:cubicBezTo>
                      <a:pt x="5402009" y="2555748"/>
                      <a:pt x="5393151" y="2546890"/>
                      <a:pt x="5382292" y="2546890"/>
                    </a:cubicBezTo>
                    <a:close/>
                    <a:moveTo>
                      <a:pt x="5382292" y="1129951"/>
                    </a:moveTo>
                    <a:cubicBezTo>
                      <a:pt x="5371338" y="1129951"/>
                      <a:pt x="5362575" y="1138809"/>
                      <a:pt x="5362575" y="1149668"/>
                    </a:cubicBezTo>
                    <a:lnTo>
                      <a:pt x="5362575" y="1326833"/>
                    </a:lnTo>
                    <a:cubicBezTo>
                      <a:pt x="5362575" y="1337786"/>
                      <a:pt x="5371433" y="1346549"/>
                      <a:pt x="5382292" y="1346549"/>
                    </a:cubicBezTo>
                    <a:cubicBezTo>
                      <a:pt x="5393245" y="1346549"/>
                      <a:pt x="5402009" y="1337691"/>
                      <a:pt x="5402009" y="1326833"/>
                    </a:cubicBezTo>
                    <a:lnTo>
                      <a:pt x="5402009" y="1149668"/>
                    </a:lnTo>
                    <a:cubicBezTo>
                      <a:pt x="5402009" y="1138809"/>
                      <a:pt x="5393151" y="1129951"/>
                      <a:pt x="5382292" y="1129951"/>
                    </a:cubicBezTo>
                    <a:close/>
                    <a:moveTo>
                      <a:pt x="5382292" y="775716"/>
                    </a:moveTo>
                    <a:cubicBezTo>
                      <a:pt x="5371338" y="775716"/>
                      <a:pt x="5362575" y="784574"/>
                      <a:pt x="5362575" y="795433"/>
                    </a:cubicBezTo>
                    <a:lnTo>
                      <a:pt x="5362575" y="972503"/>
                    </a:lnTo>
                    <a:cubicBezTo>
                      <a:pt x="5362575" y="983456"/>
                      <a:pt x="5371433" y="992219"/>
                      <a:pt x="5382292" y="992219"/>
                    </a:cubicBezTo>
                    <a:cubicBezTo>
                      <a:pt x="5393245" y="992219"/>
                      <a:pt x="5402009" y="983361"/>
                      <a:pt x="5402009" y="972503"/>
                    </a:cubicBezTo>
                    <a:lnTo>
                      <a:pt x="5402009" y="795528"/>
                    </a:lnTo>
                    <a:cubicBezTo>
                      <a:pt x="5402009" y="784574"/>
                      <a:pt x="5393151" y="775716"/>
                      <a:pt x="5382292" y="775716"/>
                    </a:cubicBezTo>
                    <a:close/>
                    <a:moveTo>
                      <a:pt x="5380387" y="437960"/>
                    </a:moveTo>
                    <a:cubicBezTo>
                      <a:pt x="5377434" y="427482"/>
                      <a:pt x="5366576" y="421291"/>
                      <a:pt x="5356098" y="424148"/>
                    </a:cubicBezTo>
                    <a:cubicBezTo>
                      <a:pt x="5345620" y="427101"/>
                      <a:pt x="5339430" y="437960"/>
                      <a:pt x="5342287" y="448437"/>
                    </a:cubicBezTo>
                    <a:cubicBezTo>
                      <a:pt x="5355718" y="496824"/>
                      <a:pt x="5362480" y="547116"/>
                      <a:pt x="5362480" y="597789"/>
                    </a:cubicBezTo>
                    <a:lnTo>
                      <a:pt x="5362480" y="618363"/>
                    </a:lnTo>
                    <a:cubicBezTo>
                      <a:pt x="5362480" y="629317"/>
                      <a:pt x="5371338" y="638080"/>
                      <a:pt x="5382197" y="638080"/>
                    </a:cubicBezTo>
                    <a:cubicBezTo>
                      <a:pt x="5393151" y="638080"/>
                      <a:pt x="5401914" y="629222"/>
                      <a:pt x="5401914" y="618363"/>
                    </a:cubicBezTo>
                    <a:lnTo>
                      <a:pt x="5401914" y="597789"/>
                    </a:lnTo>
                    <a:cubicBezTo>
                      <a:pt x="5402009" y="543497"/>
                      <a:pt x="5394770" y="489776"/>
                      <a:pt x="5380387" y="437960"/>
                    </a:cubicBezTo>
                    <a:close/>
                    <a:moveTo>
                      <a:pt x="5382292" y="2192655"/>
                    </a:moveTo>
                    <a:cubicBezTo>
                      <a:pt x="5371338" y="2192655"/>
                      <a:pt x="5362575" y="2201513"/>
                      <a:pt x="5362575" y="2212372"/>
                    </a:cubicBezTo>
                    <a:lnTo>
                      <a:pt x="5362575" y="2389537"/>
                    </a:lnTo>
                    <a:cubicBezTo>
                      <a:pt x="5362575" y="2400491"/>
                      <a:pt x="5371433" y="2409254"/>
                      <a:pt x="5382292" y="2409254"/>
                    </a:cubicBezTo>
                    <a:cubicBezTo>
                      <a:pt x="5393245" y="2409254"/>
                      <a:pt x="5402009" y="2400395"/>
                      <a:pt x="5402009" y="2389537"/>
                    </a:cubicBezTo>
                    <a:lnTo>
                      <a:pt x="5402009" y="2212372"/>
                    </a:lnTo>
                    <a:cubicBezTo>
                      <a:pt x="5402009" y="2201513"/>
                      <a:pt x="5393151" y="2192655"/>
                      <a:pt x="5382292" y="2192655"/>
                    </a:cubicBezTo>
                    <a:close/>
                    <a:moveTo>
                      <a:pt x="5355622" y="5378101"/>
                    </a:moveTo>
                    <a:cubicBezTo>
                      <a:pt x="5345335" y="5374386"/>
                      <a:pt x="5334000" y="5379815"/>
                      <a:pt x="5330381" y="5390102"/>
                    </a:cubicBezTo>
                    <a:cubicBezTo>
                      <a:pt x="5311235" y="5443919"/>
                      <a:pt x="5283994" y="5494306"/>
                      <a:pt x="5249323" y="5539931"/>
                    </a:cubicBezTo>
                    <a:cubicBezTo>
                      <a:pt x="5242751" y="5548599"/>
                      <a:pt x="5244465" y="5560981"/>
                      <a:pt x="5253133" y="5567649"/>
                    </a:cubicBezTo>
                    <a:cubicBezTo>
                      <a:pt x="5256753" y="5570315"/>
                      <a:pt x="5260944" y="5571649"/>
                      <a:pt x="5265039" y="5571649"/>
                    </a:cubicBezTo>
                    <a:cubicBezTo>
                      <a:pt x="5271040" y="5571649"/>
                      <a:pt x="5276946" y="5568982"/>
                      <a:pt x="5280755" y="5563838"/>
                    </a:cubicBezTo>
                    <a:cubicBezTo>
                      <a:pt x="5317808" y="5514975"/>
                      <a:pt x="5347049" y="5460968"/>
                      <a:pt x="5367528" y="5403342"/>
                    </a:cubicBezTo>
                    <a:cubicBezTo>
                      <a:pt x="5371243" y="5393055"/>
                      <a:pt x="5365909" y="5381720"/>
                      <a:pt x="5355622" y="5378101"/>
                    </a:cubicBezTo>
                    <a:close/>
                    <a:moveTo>
                      <a:pt x="5382292" y="1838420"/>
                    </a:moveTo>
                    <a:cubicBezTo>
                      <a:pt x="5371338" y="1838420"/>
                      <a:pt x="5362575" y="1847279"/>
                      <a:pt x="5362575" y="1858137"/>
                    </a:cubicBezTo>
                    <a:lnTo>
                      <a:pt x="5362575" y="2035207"/>
                    </a:lnTo>
                    <a:cubicBezTo>
                      <a:pt x="5362575" y="2046161"/>
                      <a:pt x="5371433" y="2054924"/>
                      <a:pt x="5382292" y="2054924"/>
                    </a:cubicBezTo>
                    <a:cubicBezTo>
                      <a:pt x="5393245" y="2054924"/>
                      <a:pt x="5402009" y="2046065"/>
                      <a:pt x="5402009" y="2035207"/>
                    </a:cubicBezTo>
                    <a:lnTo>
                      <a:pt x="5402009" y="1858137"/>
                    </a:lnTo>
                    <a:cubicBezTo>
                      <a:pt x="5402009" y="1847279"/>
                      <a:pt x="5393151" y="1838420"/>
                      <a:pt x="5382292" y="1838420"/>
                    </a:cubicBezTo>
                    <a:close/>
                    <a:moveTo>
                      <a:pt x="5382292" y="1484186"/>
                    </a:moveTo>
                    <a:cubicBezTo>
                      <a:pt x="5371338" y="1484186"/>
                      <a:pt x="5362575" y="1493044"/>
                      <a:pt x="5362575" y="1503902"/>
                    </a:cubicBezTo>
                    <a:lnTo>
                      <a:pt x="5362575" y="1681067"/>
                    </a:lnTo>
                    <a:cubicBezTo>
                      <a:pt x="5362575" y="1692021"/>
                      <a:pt x="5371433" y="1700784"/>
                      <a:pt x="5382292" y="1700784"/>
                    </a:cubicBezTo>
                    <a:cubicBezTo>
                      <a:pt x="5393245" y="1700784"/>
                      <a:pt x="5402009" y="1691926"/>
                      <a:pt x="5402009" y="1681067"/>
                    </a:cubicBezTo>
                    <a:lnTo>
                      <a:pt x="5402009" y="1503902"/>
                    </a:lnTo>
                    <a:cubicBezTo>
                      <a:pt x="5402009" y="1493044"/>
                      <a:pt x="5393151" y="1484186"/>
                      <a:pt x="5382292" y="1484186"/>
                    </a:cubicBezTo>
                    <a:close/>
                    <a:moveTo>
                      <a:pt x="5382292" y="3255359"/>
                    </a:moveTo>
                    <a:cubicBezTo>
                      <a:pt x="5371338" y="3255359"/>
                      <a:pt x="5362575" y="3264218"/>
                      <a:pt x="5362575" y="3275076"/>
                    </a:cubicBezTo>
                    <a:lnTo>
                      <a:pt x="5362575" y="3452241"/>
                    </a:lnTo>
                    <a:cubicBezTo>
                      <a:pt x="5362575" y="3463195"/>
                      <a:pt x="5371433" y="3471958"/>
                      <a:pt x="5382292" y="3471958"/>
                    </a:cubicBezTo>
                    <a:cubicBezTo>
                      <a:pt x="5393245" y="3471958"/>
                      <a:pt x="5402009" y="3463100"/>
                      <a:pt x="5402009" y="3452241"/>
                    </a:cubicBezTo>
                    <a:lnTo>
                      <a:pt x="5402009" y="3275076"/>
                    </a:lnTo>
                    <a:cubicBezTo>
                      <a:pt x="5402009" y="3264218"/>
                      <a:pt x="5393151" y="3255359"/>
                      <a:pt x="5382292" y="3255359"/>
                    </a:cubicBezTo>
                    <a:close/>
                    <a:moveTo>
                      <a:pt x="5288756" y="302228"/>
                    </a:moveTo>
                    <a:cubicBezTo>
                      <a:pt x="5292471" y="302228"/>
                      <a:pt x="5296186" y="301181"/>
                      <a:pt x="5299520" y="298990"/>
                    </a:cubicBezTo>
                    <a:cubicBezTo>
                      <a:pt x="5308664" y="292989"/>
                      <a:pt x="5311235" y="280797"/>
                      <a:pt x="5305235" y="271653"/>
                    </a:cubicBezTo>
                    <a:cubicBezTo>
                      <a:pt x="5271802" y="220409"/>
                      <a:pt x="5230844" y="174689"/>
                      <a:pt x="5183505" y="135827"/>
                    </a:cubicBezTo>
                    <a:cubicBezTo>
                      <a:pt x="5175123" y="128873"/>
                      <a:pt x="5162646" y="130111"/>
                      <a:pt x="5155693" y="138589"/>
                    </a:cubicBezTo>
                    <a:cubicBezTo>
                      <a:pt x="5148739" y="146971"/>
                      <a:pt x="5149977" y="159449"/>
                      <a:pt x="5158455" y="166402"/>
                    </a:cubicBezTo>
                    <a:cubicBezTo>
                      <a:pt x="5202651" y="202787"/>
                      <a:pt x="5240941" y="245459"/>
                      <a:pt x="5272088" y="293370"/>
                    </a:cubicBezTo>
                    <a:cubicBezTo>
                      <a:pt x="5275993" y="299085"/>
                      <a:pt x="5282280" y="302228"/>
                      <a:pt x="5288756" y="302228"/>
                    </a:cubicBezTo>
                    <a:close/>
                    <a:moveTo>
                      <a:pt x="3627501" y="19717"/>
                    </a:moveTo>
                    <a:cubicBezTo>
                      <a:pt x="3627501" y="8763"/>
                      <a:pt x="3618643" y="0"/>
                      <a:pt x="3607784" y="0"/>
                    </a:cubicBezTo>
                    <a:lnTo>
                      <a:pt x="3430715" y="0"/>
                    </a:lnTo>
                    <a:cubicBezTo>
                      <a:pt x="3419761" y="0"/>
                      <a:pt x="3410998" y="8858"/>
                      <a:pt x="3410998" y="19717"/>
                    </a:cubicBezTo>
                    <a:cubicBezTo>
                      <a:pt x="3410998" y="30670"/>
                      <a:pt x="3419856" y="39434"/>
                      <a:pt x="3430715" y="39434"/>
                    </a:cubicBezTo>
                    <a:lnTo>
                      <a:pt x="3607784" y="39434"/>
                    </a:lnTo>
                    <a:cubicBezTo>
                      <a:pt x="3618643" y="39434"/>
                      <a:pt x="3627501" y="30670"/>
                      <a:pt x="3627501" y="19717"/>
                    </a:cubicBezTo>
                    <a:close/>
                    <a:moveTo>
                      <a:pt x="3981736" y="19717"/>
                    </a:moveTo>
                    <a:cubicBezTo>
                      <a:pt x="3981736" y="8763"/>
                      <a:pt x="3972878" y="0"/>
                      <a:pt x="3962019" y="0"/>
                    </a:cubicBezTo>
                    <a:lnTo>
                      <a:pt x="3784854" y="0"/>
                    </a:lnTo>
                    <a:cubicBezTo>
                      <a:pt x="3773900" y="0"/>
                      <a:pt x="3765137" y="8858"/>
                      <a:pt x="3765137" y="19717"/>
                    </a:cubicBezTo>
                    <a:cubicBezTo>
                      <a:pt x="3765137" y="30670"/>
                      <a:pt x="3773996" y="39434"/>
                      <a:pt x="3784854" y="39434"/>
                    </a:cubicBezTo>
                    <a:lnTo>
                      <a:pt x="3962019" y="39434"/>
                    </a:lnTo>
                    <a:cubicBezTo>
                      <a:pt x="3972878" y="39434"/>
                      <a:pt x="3981736" y="30670"/>
                      <a:pt x="3981736" y="19717"/>
                    </a:cubicBezTo>
                    <a:close/>
                    <a:moveTo>
                      <a:pt x="3741420" y="5761101"/>
                    </a:moveTo>
                    <a:lnTo>
                      <a:pt x="3564255" y="5761101"/>
                    </a:lnTo>
                    <a:cubicBezTo>
                      <a:pt x="3553301" y="5761101"/>
                      <a:pt x="3544538" y="5769959"/>
                      <a:pt x="3544538" y="5780818"/>
                    </a:cubicBezTo>
                    <a:cubicBezTo>
                      <a:pt x="3544538" y="5791772"/>
                      <a:pt x="3553397" y="5800535"/>
                      <a:pt x="3564255" y="5800535"/>
                    </a:cubicBezTo>
                    <a:lnTo>
                      <a:pt x="3741420" y="5800535"/>
                    </a:lnTo>
                    <a:cubicBezTo>
                      <a:pt x="3752374" y="5800535"/>
                      <a:pt x="3761137" y="5791677"/>
                      <a:pt x="3761137" y="5780818"/>
                    </a:cubicBezTo>
                    <a:cubicBezTo>
                      <a:pt x="3761232" y="5769959"/>
                      <a:pt x="3752374" y="5761101"/>
                      <a:pt x="3741420" y="5761101"/>
                    </a:cubicBezTo>
                    <a:close/>
                    <a:moveTo>
                      <a:pt x="3032951" y="5761101"/>
                    </a:moveTo>
                    <a:lnTo>
                      <a:pt x="2855881" y="5761101"/>
                    </a:lnTo>
                    <a:cubicBezTo>
                      <a:pt x="2844927" y="5761101"/>
                      <a:pt x="2836164" y="5769959"/>
                      <a:pt x="2836164" y="5780818"/>
                    </a:cubicBezTo>
                    <a:cubicBezTo>
                      <a:pt x="2836164" y="5791772"/>
                      <a:pt x="2845022" y="5800535"/>
                      <a:pt x="2855881" y="5800535"/>
                    </a:cubicBezTo>
                    <a:lnTo>
                      <a:pt x="3032951" y="5800535"/>
                    </a:lnTo>
                    <a:cubicBezTo>
                      <a:pt x="3043904" y="5800535"/>
                      <a:pt x="3052667" y="5791677"/>
                      <a:pt x="3052667" y="5780818"/>
                    </a:cubicBezTo>
                    <a:cubicBezTo>
                      <a:pt x="3052763" y="5769959"/>
                      <a:pt x="3043904" y="5761101"/>
                      <a:pt x="3032951" y="5761101"/>
                    </a:cubicBezTo>
                    <a:close/>
                    <a:moveTo>
                      <a:pt x="3387185" y="5761101"/>
                    </a:moveTo>
                    <a:lnTo>
                      <a:pt x="3210116" y="5761101"/>
                    </a:lnTo>
                    <a:cubicBezTo>
                      <a:pt x="3199162" y="5761101"/>
                      <a:pt x="3190399" y="5769959"/>
                      <a:pt x="3190399" y="5780818"/>
                    </a:cubicBezTo>
                    <a:cubicBezTo>
                      <a:pt x="3190399" y="5791772"/>
                      <a:pt x="3199257" y="5800535"/>
                      <a:pt x="3210116" y="5800535"/>
                    </a:cubicBezTo>
                    <a:lnTo>
                      <a:pt x="3387185" y="5800535"/>
                    </a:lnTo>
                    <a:cubicBezTo>
                      <a:pt x="3398139" y="5800535"/>
                      <a:pt x="3406902" y="5791677"/>
                      <a:pt x="3406902" y="5780818"/>
                    </a:cubicBezTo>
                    <a:cubicBezTo>
                      <a:pt x="3406997" y="5769959"/>
                      <a:pt x="3398139" y="5761101"/>
                      <a:pt x="3387185" y="5761101"/>
                    </a:cubicBezTo>
                    <a:close/>
                    <a:moveTo>
                      <a:pt x="3273266" y="19717"/>
                    </a:moveTo>
                    <a:cubicBezTo>
                      <a:pt x="3273266" y="8763"/>
                      <a:pt x="3264408" y="0"/>
                      <a:pt x="3253549" y="0"/>
                    </a:cubicBezTo>
                    <a:lnTo>
                      <a:pt x="3076480" y="0"/>
                    </a:lnTo>
                    <a:cubicBezTo>
                      <a:pt x="3065526" y="0"/>
                      <a:pt x="3056763" y="8858"/>
                      <a:pt x="3056763" y="19717"/>
                    </a:cubicBezTo>
                    <a:cubicBezTo>
                      <a:pt x="3056763" y="30670"/>
                      <a:pt x="3065621" y="39434"/>
                      <a:pt x="3076480" y="39434"/>
                    </a:cubicBezTo>
                    <a:lnTo>
                      <a:pt x="3253549" y="39434"/>
                    </a:lnTo>
                    <a:cubicBezTo>
                      <a:pt x="3264408" y="39434"/>
                      <a:pt x="3273266" y="30670"/>
                      <a:pt x="3273266" y="19717"/>
                    </a:cubicBezTo>
                    <a:close/>
                    <a:moveTo>
                      <a:pt x="4095655" y="5761101"/>
                    </a:moveTo>
                    <a:lnTo>
                      <a:pt x="3918490" y="5761101"/>
                    </a:lnTo>
                    <a:cubicBezTo>
                      <a:pt x="3907536" y="5761101"/>
                      <a:pt x="3898773" y="5769959"/>
                      <a:pt x="3898773" y="5780818"/>
                    </a:cubicBezTo>
                    <a:cubicBezTo>
                      <a:pt x="3898773" y="5791772"/>
                      <a:pt x="3907631" y="5800535"/>
                      <a:pt x="3918490" y="5800535"/>
                    </a:cubicBezTo>
                    <a:lnTo>
                      <a:pt x="4095655" y="5800535"/>
                    </a:lnTo>
                    <a:cubicBezTo>
                      <a:pt x="4106609" y="5800535"/>
                      <a:pt x="4115372" y="5791677"/>
                      <a:pt x="4115372" y="5780818"/>
                    </a:cubicBezTo>
                    <a:cubicBezTo>
                      <a:pt x="4115467" y="5769959"/>
                      <a:pt x="4106609" y="5761101"/>
                      <a:pt x="4095655" y="5761101"/>
                    </a:cubicBezTo>
                    <a:close/>
                    <a:moveTo>
                      <a:pt x="5019389" y="80867"/>
                    </a:moveTo>
                    <a:cubicBezTo>
                      <a:pt x="5027200" y="80867"/>
                      <a:pt x="5034630" y="76200"/>
                      <a:pt x="5037773" y="68485"/>
                    </a:cubicBezTo>
                    <a:cubicBezTo>
                      <a:pt x="5041869" y="58388"/>
                      <a:pt x="5036915" y="46863"/>
                      <a:pt x="5026819" y="42767"/>
                    </a:cubicBezTo>
                    <a:cubicBezTo>
                      <a:pt x="4970050" y="20003"/>
                      <a:pt x="4910328" y="6191"/>
                      <a:pt x="4849082" y="1619"/>
                    </a:cubicBezTo>
                    <a:cubicBezTo>
                      <a:pt x="4838224" y="857"/>
                      <a:pt x="4828699" y="8954"/>
                      <a:pt x="4827937" y="19907"/>
                    </a:cubicBezTo>
                    <a:cubicBezTo>
                      <a:pt x="4827175" y="30766"/>
                      <a:pt x="4835271" y="40291"/>
                      <a:pt x="4846225" y="41053"/>
                    </a:cubicBezTo>
                    <a:cubicBezTo>
                      <a:pt x="4903375" y="45244"/>
                      <a:pt x="4959192" y="58198"/>
                      <a:pt x="5012151" y="79439"/>
                    </a:cubicBezTo>
                    <a:cubicBezTo>
                      <a:pt x="5014437" y="80391"/>
                      <a:pt x="5016913" y="80867"/>
                      <a:pt x="5019389" y="80867"/>
                    </a:cubicBezTo>
                    <a:close/>
                    <a:moveTo>
                      <a:pt x="4806410" y="5761101"/>
                    </a:moveTo>
                    <a:lnTo>
                      <a:pt x="4627055" y="5761101"/>
                    </a:lnTo>
                    <a:cubicBezTo>
                      <a:pt x="4616101" y="5761101"/>
                      <a:pt x="4607338" y="5769959"/>
                      <a:pt x="4607338" y="5780818"/>
                    </a:cubicBezTo>
                    <a:cubicBezTo>
                      <a:pt x="4607338" y="5791772"/>
                      <a:pt x="4616196" y="5800535"/>
                      <a:pt x="4627055" y="5800535"/>
                    </a:cubicBezTo>
                    <a:lnTo>
                      <a:pt x="4804410" y="5800535"/>
                    </a:lnTo>
                    <a:lnTo>
                      <a:pt x="4806315" y="5800535"/>
                    </a:lnTo>
                    <a:cubicBezTo>
                      <a:pt x="4817269" y="5800535"/>
                      <a:pt x="4826032" y="5791677"/>
                      <a:pt x="4826032" y="5780818"/>
                    </a:cubicBezTo>
                    <a:cubicBezTo>
                      <a:pt x="4826127" y="5769959"/>
                      <a:pt x="4817269" y="5761101"/>
                      <a:pt x="4806410" y="5761101"/>
                    </a:cubicBezTo>
                    <a:close/>
                    <a:moveTo>
                      <a:pt x="4335971" y="19717"/>
                    </a:moveTo>
                    <a:cubicBezTo>
                      <a:pt x="4335971" y="8763"/>
                      <a:pt x="4327113" y="0"/>
                      <a:pt x="4316254" y="0"/>
                    </a:cubicBezTo>
                    <a:lnTo>
                      <a:pt x="4139184" y="0"/>
                    </a:lnTo>
                    <a:cubicBezTo>
                      <a:pt x="4128230" y="0"/>
                      <a:pt x="4119467" y="8858"/>
                      <a:pt x="4119467" y="19717"/>
                    </a:cubicBezTo>
                    <a:cubicBezTo>
                      <a:pt x="4119467" y="30670"/>
                      <a:pt x="4128326" y="39434"/>
                      <a:pt x="4139184" y="39434"/>
                    </a:cubicBezTo>
                    <a:lnTo>
                      <a:pt x="4316254" y="39434"/>
                    </a:lnTo>
                    <a:cubicBezTo>
                      <a:pt x="4327113" y="39434"/>
                      <a:pt x="4335971" y="30670"/>
                      <a:pt x="4335971" y="19717"/>
                    </a:cubicBezTo>
                    <a:close/>
                    <a:moveTo>
                      <a:pt x="5126927" y="5658422"/>
                    </a:moveTo>
                    <a:cubicBezTo>
                      <a:pt x="5080159" y="5691569"/>
                      <a:pt x="5028914" y="5717191"/>
                      <a:pt x="4974622" y="5734622"/>
                    </a:cubicBezTo>
                    <a:cubicBezTo>
                      <a:pt x="4964240" y="5737956"/>
                      <a:pt x="4958525" y="5749100"/>
                      <a:pt x="4961858" y="5759482"/>
                    </a:cubicBezTo>
                    <a:cubicBezTo>
                      <a:pt x="4964526" y="5767864"/>
                      <a:pt x="4972336" y="5773198"/>
                      <a:pt x="4980718" y="5773198"/>
                    </a:cubicBezTo>
                    <a:cubicBezTo>
                      <a:pt x="4982718" y="5773198"/>
                      <a:pt x="4984719" y="5772912"/>
                      <a:pt x="4986719" y="5772245"/>
                    </a:cubicBezTo>
                    <a:cubicBezTo>
                      <a:pt x="5044917" y="5753577"/>
                      <a:pt x="5099876" y="5726145"/>
                      <a:pt x="5149882" y="5690616"/>
                    </a:cubicBezTo>
                    <a:cubicBezTo>
                      <a:pt x="5158740" y="5684330"/>
                      <a:pt x="5160931" y="5671947"/>
                      <a:pt x="5154549" y="5663089"/>
                    </a:cubicBezTo>
                    <a:cubicBezTo>
                      <a:pt x="5148167" y="5654231"/>
                      <a:pt x="5135785" y="5652135"/>
                      <a:pt x="5126927" y="5658422"/>
                    </a:cubicBezTo>
                    <a:close/>
                    <a:moveTo>
                      <a:pt x="4690206" y="19717"/>
                    </a:moveTo>
                    <a:cubicBezTo>
                      <a:pt x="4690206" y="8763"/>
                      <a:pt x="4681347" y="0"/>
                      <a:pt x="4670489" y="0"/>
                    </a:cubicBezTo>
                    <a:lnTo>
                      <a:pt x="4493419" y="0"/>
                    </a:lnTo>
                    <a:cubicBezTo>
                      <a:pt x="4482465" y="0"/>
                      <a:pt x="4473702" y="8858"/>
                      <a:pt x="4473702" y="19717"/>
                    </a:cubicBezTo>
                    <a:cubicBezTo>
                      <a:pt x="4473702" y="30670"/>
                      <a:pt x="4482560" y="39434"/>
                      <a:pt x="4493419" y="39434"/>
                    </a:cubicBezTo>
                    <a:lnTo>
                      <a:pt x="4670489" y="39434"/>
                    </a:lnTo>
                    <a:cubicBezTo>
                      <a:pt x="4681347" y="39434"/>
                      <a:pt x="4690206" y="30670"/>
                      <a:pt x="4690206" y="19717"/>
                    </a:cubicBezTo>
                    <a:close/>
                    <a:moveTo>
                      <a:pt x="4449890" y="5761101"/>
                    </a:moveTo>
                    <a:lnTo>
                      <a:pt x="4272820" y="5761101"/>
                    </a:lnTo>
                    <a:cubicBezTo>
                      <a:pt x="4261866" y="5761101"/>
                      <a:pt x="4253103" y="5769959"/>
                      <a:pt x="4253103" y="5780818"/>
                    </a:cubicBezTo>
                    <a:cubicBezTo>
                      <a:pt x="4253103" y="5791772"/>
                      <a:pt x="4261962" y="5800535"/>
                      <a:pt x="4272820" y="5800535"/>
                    </a:cubicBezTo>
                    <a:lnTo>
                      <a:pt x="4449890" y="5800535"/>
                    </a:lnTo>
                    <a:cubicBezTo>
                      <a:pt x="4460843" y="5800535"/>
                      <a:pt x="4469606" y="5791677"/>
                      <a:pt x="4469606" y="5780818"/>
                    </a:cubicBezTo>
                    <a:cubicBezTo>
                      <a:pt x="4469702" y="5769959"/>
                      <a:pt x="4460843" y="5761101"/>
                      <a:pt x="4449890" y="5761101"/>
                    </a:cubicBez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446"/>
                <a:endParaRPr lang="en-GB">
                  <a:solidFill>
                    <a:srgbClr val="000000"/>
                  </a:solidFill>
                  <a:latin typeface="Novo Apply Sans"/>
                </a:endParaRPr>
              </a:p>
            </p:txBody>
          </p:sp>
          <p:grpSp>
            <p:nvGrpSpPr>
              <p:cNvPr id="57" name="Graphic 383">
                <a:extLst>
                  <a:ext uri="{FF2B5EF4-FFF2-40B4-BE49-F238E27FC236}">
                    <a16:creationId xmlns:a16="http://schemas.microsoft.com/office/drawing/2014/main" id="{25F594A4-088C-4E08-A302-5183CF0E3D6D}"/>
                  </a:ext>
                </a:extLst>
              </p:cNvPr>
              <p:cNvGrpSpPr/>
              <p:nvPr/>
            </p:nvGrpSpPr>
            <p:grpSpPr>
              <a:xfrm>
                <a:off x="13410549" y="4343400"/>
                <a:ext cx="665705" cy="1692866"/>
                <a:chOff x="9961530" y="2185987"/>
                <a:chExt cx="2327719" cy="5919311"/>
              </a:xfrm>
              <a:solidFill>
                <a:srgbClr val="FBB03B"/>
              </a:solidFill>
            </p:grpSpPr>
            <p:sp>
              <p:nvSpPr>
                <p:cNvPr id="58" name="Freeform: Shape 57">
                  <a:extLst>
                    <a:ext uri="{FF2B5EF4-FFF2-40B4-BE49-F238E27FC236}">
                      <a16:creationId xmlns:a16="http://schemas.microsoft.com/office/drawing/2014/main" id="{ADE4896E-6CA4-43AD-BF7B-3805A5C7EB22}"/>
                    </a:ext>
                  </a:extLst>
                </p:cNvPr>
                <p:cNvSpPr/>
                <p:nvPr/>
              </p:nvSpPr>
              <p:spPr>
                <a:xfrm>
                  <a:off x="9961530" y="2185987"/>
                  <a:ext cx="1500473" cy="5919311"/>
                </a:xfrm>
                <a:custGeom>
                  <a:avLst/>
                  <a:gdLst>
                    <a:gd name="connsiteX0" fmla="*/ 843344 w 1500473"/>
                    <a:gd name="connsiteY0" fmla="*/ 5919312 h 5919311"/>
                    <a:gd name="connsiteX1" fmla="*/ 0 w 1500473"/>
                    <a:gd name="connsiteY1" fmla="*/ 5919312 h 5919311"/>
                    <a:gd name="connsiteX2" fmla="*/ 0 w 1500473"/>
                    <a:gd name="connsiteY2" fmla="*/ 5761196 h 5919311"/>
                    <a:gd name="connsiteX3" fmla="*/ 843344 w 1500473"/>
                    <a:gd name="connsiteY3" fmla="*/ 5761196 h 5919311"/>
                    <a:gd name="connsiteX4" fmla="*/ 1342359 w 1500473"/>
                    <a:gd name="connsiteY4" fmla="*/ 5262182 h 5919311"/>
                    <a:gd name="connsiteX5" fmla="*/ 1342359 w 1500473"/>
                    <a:gd name="connsiteY5" fmla="*/ 657130 h 5919311"/>
                    <a:gd name="connsiteX6" fmla="*/ 843344 w 1500473"/>
                    <a:gd name="connsiteY6" fmla="*/ 158020 h 5919311"/>
                    <a:gd name="connsiteX7" fmla="*/ 3239 w 1500473"/>
                    <a:gd name="connsiteY7" fmla="*/ 158020 h 5919311"/>
                    <a:gd name="connsiteX8" fmla="*/ 3239 w 1500473"/>
                    <a:gd name="connsiteY8" fmla="*/ 0 h 5919311"/>
                    <a:gd name="connsiteX9" fmla="*/ 843344 w 1500473"/>
                    <a:gd name="connsiteY9" fmla="*/ 0 h 5919311"/>
                    <a:gd name="connsiteX10" fmla="*/ 1500473 w 1500473"/>
                    <a:gd name="connsiteY10" fmla="*/ 657130 h 5919311"/>
                    <a:gd name="connsiteX11" fmla="*/ 1500473 w 1500473"/>
                    <a:gd name="connsiteY11" fmla="*/ 5262087 h 5919311"/>
                    <a:gd name="connsiteX12" fmla="*/ 843344 w 1500473"/>
                    <a:gd name="connsiteY12" fmla="*/ 5919312 h 59193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500473" h="5919311">
                      <a:moveTo>
                        <a:pt x="843344" y="5919312"/>
                      </a:moveTo>
                      <a:lnTo>
                        <a:pt x="0" y="5919312"/>
                      </a:lnTo>
                      <a:lnTo>
                        <a:pt x="0" y="5761196"/>
                      </a:lnTo>
                      <a:lnTo>
                        <a:pt x="843344" y="5761196"/>
                      </a:lnTo>
                      <a:cubicBezTo>
                        <a:pt x="1118521" y="5761196"/>
                        <a:pt x="1342359" y="5537359"/>
                        <a:pt x="1342359" y="5262182"/>
                      </a:cubicBezTo>
                      <a:lnTo>
                        <a:pt x="1342359" y="657130"/>
                      </a:lnTo>
                      <a:cubicBezTo>
                        <a:pt x="1342359" y="381953"/>
                        <a:pt x="1118521" y="158020"/>
                        <a:pt x="843344" y="158020"/>
                      </a:cubicBezTo>
                      <a:lnTo>
                        <a:pt x="3239" y="158020"/>
                      </a:lnTo>
                      <a:lnTo>
                        <a:pt x="3239" y="0"/>
                      </a:lnTo>
                      <a:lnTo>
                        <a:pt x="843344" y="0"/>
                      </a:lnTo>
                      <a:cubicBezTo>
                        <a:pt x="1205674" y="0"/>
                        <a:pt x="1500473" y="294799"/>
                        <a:pt x="1500473" y="657130"/>
                      </a:cubicBezTo>
                      <a:lnTo>
                        <a:pt x="1500473" y="5262087"/>
                      </a:lnTo>
                      <a:cubicBezTo>
                        <a:pt x="1500569" y="5624513"/>
                        <a:pt x="1205770" y="5919312"/>
                        <a:pt x="843344" y="5919312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914446"/>
                  <a:endParaRPr lang="en-GB">
                    <a:solidFill>
                      <a:srgbClr val="000000"/>
                    </a:solidFill>
                    <a:latin typeface="Novo Apply Sans"/>
                  </a:endParaRPr>
                </a:p>
              </p:txBody>
            </p:sp>
            <p:sp>
              <p:nvSpPr>
                <p:cNvPr id="59" name="Freeform: Shape 58">
                  <a:extLst>
                    <a:ext uri="{FF2B5EF4-FFF2-40B4-BE49-F238E27FC236}">
                      <a16:creationId xmlns:a16="http://schemas.microsoft.com/office/drawing/2014/main" id="{30FD0A4D-D031-4ECD-9D22-BBBAA3A60E06}"/>
                    </a:ext>
                  </a:extLst>
                </p:cNvPr>
                <p:cNvSpPr/>
                <p:nvPr/>
              </p:nvSpPr>
              <p:spPr>
                <a:xfrm>
                  <a:off x="11775852" y="4835842"/>
                  <a:ext cx="513397" cy="621315"/>
                </a:xfrm>
                <a:custGeom>
                  <a:avLst/>
                  <a:gdLst>
                    <a:gd name="connsiteX0" fmla="*/ 513398 w 513397"/>
                    <a:gd name="connsiteY0" fmla="*/ 310610 h 621315"/>
                    <a:gd name="connsiteX1" fmla="*/ 0 w 513397"/>
                    <a:gd name="connsiteY1" fmla="*/ 0 h 621315"/>
                    <a:gd name="connsiteX2" fmla="*/ 0 w 513397"/>
                    <a:gd name="connsiteY2" fmla="*/ 621316 h 6213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13397" h="621315">
                      <a:moveTo>
                        <a:pt x="513398" y="310610"/>
                      </a:moveTo>
                      <a:lnTo>
                        <a:pt x="0" y="0"/>
                      </a:lnTo>
                      <a:lnTo>
                        <a:pt x="0" y="62131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914446"/>
                  <a:endParaRPr lang="en-GB">
                    <a:solidFill>
                      <a:srgbClr val="000000"/>
                    </a:solidFill>
                    <a:latin typeface="Novo Apply Sans"/>
                  </a:endParaRPr>
                </a:p>
              </p:txBody>
            </p:sp>
            <p:sp>
              <p:nvSpPr>
                <p:cNvPr id="60" name="Freeform: Shape 59">
                  <a:extLst>
                    <a:ext uri="{FF2B5EF4-FFF2-40B4-BE49-F238E27FC236}">
                      <a16:creationId xmlns:a16="http://schemas.microsoft.com/office/drawing/2014/main" id="{5B81B7C2-BE68-4BAB-8D93-4B4957ADB543}"/>
                    </a:ext>
                  </a:extLst>
                </p:cNvPr>
                <p:cNvSpPr/>
                <p:nvPr/>
              </p:nvSpPr>
              <p:spPr>
                <a:xfrm>
                  <a:off x="11329701" y="5041296"/>
                  <a:ext cx="740092" cy="210311"/>
                </a:xfrm>
                <a:custGeom>
                  <a:avLst/>
                  <a:gdLst>
                    <a:gd name="connsiteX0" fmla="*/ 0 w 740092"/>
                    <a:gd name="connsiteY0" fmla="*/ 0 h 210311"/>
                    <a:gd name="connsiteX1" fmla="*/ 740092 w 740092"/>
                    <a:gd name="connsiteY1" fmla="*/ 0 h 210311"/>
                    <a:gd name="connsiteX2" fmla="*/ 740092 w 740092"/>
                    <a:gd name="connsiteY2" fmla="*/ 210312 h 210311"/>
                    <a:gd name="connsiteX3" fmla="*/ 0 w 740092"/>
                    <a:gd name="connsiteY3" fmla="*/ 210312 h 2103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40092" h="210311">
                      <a:moveTo>
                        <a:pt x="0" y="0"/>
                      </a:moveTo>
                      <a:lnTo>
                        <a:pt x="740092" y="0"/>
                      </a:lnTo>
                      <a:lnTo>
                        <a:pt x="740092" y="210312"/>
                      </a:lnTo>
                      <a:lnTo>
                        <a:pt x="0" y="21031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914446"/>
                  <a:endParaRPr lang="en-GB">
                    <a:solidFill>
                      <a:srgbClr val="000000"/>
                    </a:solidFill>
                    <a:latin typeface="Novo Apply Sans"/>
                  </a:endParaRPr>
                </a:p>
              </p:txBody>
            </p:sp>
          </p:grpSp>
        </p:grp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4A187882-3AAA-4A3E-B16E-08458F4A3BB7}"/>
                </a:ext>
              </a:extLst>
            </p:cNvPr>
            <p:cNvSpPr>
              <a:spLocks/>
            </p:cNvSpPr>
            <p:nvPr/>
          </p:nvSpPr>
          <p:spPr>
            <a:xfrm>
              <a:off x="12359838" y="5283150"/>
              <a:ext cx="1511778" cy="65652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914446">
                <a:lnSpc>
                  <a:spcPts val="1400"/>
                </a:lnSpc>
              </a:pPr>
              <a:r>
                <a:rPr lang="en-GB" sz="1067" b="1" dirty="0">
                  <a:solidFill>
                    <a:srgbClr val="001965"/>
                  </a:solidFill>
                  <a:latin typeface="Novo Apply Sans"/>
                </a:rPr>
                <a:t>Venture Investments</a:t>
              </a:r>
            </a:p>
          </p:txBody>
        </p:sp>
        <p:pic>
          <p:nvPicPr>
            <p:cNvPr id="93" name="Graphic 92">
              <a:extLst>
                <a:ext uri="{FF2B5EF4-FFF2-40B4-BE49-F238E27FC236}">
                  <a16:creationId xmlns:a16="http://schemas.microsoft.com/office/drawing/2014/main" id="{44F906A6-E0E9-4ABF-AD93-1122023597A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12827118" y="4487385"/>
              <a:ext cx="676275" cy="676275"/>
            </a:xfrm>
            <a:prstGeom prst="rect">
              <a:avLst/>
            </a:prstGeom>
          </p:spPr>
        </p:pic>
      </p:grpSp>
      <p:grpSp>
        <p:nvGrpSpPr>
          <p:cNvPr id="131" name="Group 130">
            <a:extLst>
              <a:ext uri="{FF2B5EF4-FFF2-40B4-BE49-F238E27FC236}">
                <a16:creationId xmlns:a16="http://schemas.microsoft.com/office/drawing/2014/main" id="{2649DD13-3C4D-4CAD-A60C-837696DEAC0B}"/>
              </a:ext>
            </a:extLst>
          </p:cNvPr>
          <p:cNvGrpSpPr/>
          <p:nvPr/>
        </p:nvGrpSpPr>
        <p:grpSpPr>
          <a:xfrm>
            <a:off x="6127521" y="2784239"/>
            <a:ext cx="1435580" cy="1355081"/>
            <a:chOff x="10220502" y="4176359"/>
            <a:chExt cx="2153370" cy="2032621"/>
          </a:xfrm>
        </p:grpSpPr>
        <p:grpSp>
          <p:nvGrpSpPr>
            <p:cNvPr id="123" name="Group 122">
              <a:extLst>
                <a:ext uri="{FF2B5EF4-FFF2-40B4-BE49-F238E27FC236}">
                  <a16:creationId xmlns:a16="http://schemas.microsoft.com/office/drawing/2014/main" id="{54551600-CCA4-4A5D-A6FC-4965CDEAAC93}"/>
                </a:ext>
              </a:extLst>
            </p:cNvPr>
            <p:cNvGrpSpPr>
              <a:grpSpLocks/>
            </p:cNvGrpSpPr>
            <p:nvPr/>
          </p:nvGrpSpPr>
          <p:grpSpPr>
            <a:xfrm>
              <a:off x="10220502" y="4176359"/>
              <a:ext cx="2153370" cy="2026948"/>
              <a:chOff x="10321197" y="4343400"/>
              <a:chExt cx="1798450" cy="1692866"/>
            </a:xfrm>
          </p:grpSpPr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558A7EAE-37C9-4EC8-ACCD-99D94BF0CA32}"/>
                  </a:ext>
                </a:extLst>
              </p:cNvPr>
              <p:cNvSpPr/>
              <p:nvPr/>
            </p:nvSpPr>
            <p:spPr>
              <a:xfrm>
                <a:off x="10451053" y="4491916"/>
                <a:ext cx="1299213" cy="1395807"/>
              </a:xfrm>
              <a:custGeom>
                <a:avLst/>
                <a:gdLst>
                  <a:gd name="connsiteX0" fmla="*/ 3985641 w 4542853"/>
                  <a:gd name="connsiteY0" fmla="*/ 4880610 h 4880609"/>
                  <a:gd name="connsiteX1" fmla="*/ 557308 w 4542853"/>
                  <a:gd name="connsiteY1" fmla="*/ 4880610 h 4880609"/>
                  <a:gd name="connsiteX2" fmla="*/ 0 w 4542853"/>
                  <a:gd name="connsiteY2" fmla="*/ 4323303 h 4880609"/>
                  <a:gd name="connsiteX3" fmla="*/ 0 w 4542853"/>
                  <a:gd name="connsiteY3" fmla="*/ 557308 h 4880609"/>
                  <a:gd name="connsiteX4" fmla="*/ 557308 w 4542853"/>
                  <a:gd name="connsiteY4" fmla="*/ 0 h 4880609"/>
                  <a:gd name="connsiteX5" fmla="*/ 3985546 w 4542853"/>
                  <a:gd name="connsiteY5" fmla="*/ 0 h 4880609"/>
                  <a:gd name="connsiteX6" fmla="*/ 4542854 w 4542853"/>
                  <a:gd name="connsiteY6" fmla="*/ 557308 h 4880609"/>
                  <a:gd name="connsiteX7" fmla="*/ 4542854 w 4542853"/>
                  <a:gd name="connsiteY7" fmla="*/ 4323303 h 4880609"/>
                  <a:gd name="connsiteX8" fmla="*/ 3985641 w 4542853"/>
                  <a:gd name="connsiteY8" fmla="*/ 4880610 h 48806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42853" h="4880609">
                    <a:moveTo>
                      <a:pt x="3985641" y="4880610"/>
                    </a:moveTo>
                    <a:lnTo>
                      <a:pt x="557308" y="4880610"/>
                    </a:lnTo>
                    <a:cubicBezTo>
                      <a:pt x="249555" y="4880610"/>
                      <a:pt x="0" y="4631150"/>
                      <a:pt x="0" y="4323303"/>
                    </a:cubicBezTo>
                    <a:lnTo>
                      <a:pt x="0" y="557308"/>
                    </a:lnTo>
                    <a:cubicBezTo>
                      <a:pt x="0" y="249555"/>
                      <a:pt x="249460" y="0"/>
                      <a:pt x="557308" y="0"/>
                    </a:cubicBezTo>
                    <a:lnTo>
                      <a:pt x="3985546" y="0"/>
                    </a:lnTo>
                    <a:cubicBezTo>
                      <a:pt x="4293299" y="0"/>
                      <a:pt x="4542854" y="249460"/>
                      <a:pt x="4542854" y="557308"/>
                    </a:cubicBezTo>
                    <a:lnTo>
                      <a:pt x="4542854" y="4323303"/>
                    </a:lnTo>
                    <a:cubicBezTo>
                      <a:pt x="4542854" y="4631055"/>
                      <a:pt x="4293394" y="4880610"/>
                      <a:pt x="3985641" y="4880610"/>
                    </a:cubicBezTo>
                    <a:close/>
                  </a:path>
                </a:pathLst>
              </a:custGeom>
              <a:solidFill>
                <a:srgbClr val="CCCCC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446"/>
                <a:endParaRPr lang="en-GB">
                  <a:solidFill>
                    <a:srgbClr val="000000"/>
                  </a:solidFill>
                  <a:latin typeface="Novo Apply San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3A710EFB-A1CB-443A-99AD-125FB9BDEAD2}"/>
                  </a:ext>
                </a:extLst>
              </p:cNvPr>
              <p:cNvSpPr/>
              <p:nvPr/>
            </p:nvSpPr>
            <p:spPr>
              <a:xfrm>
                <a:off x="10450481" y="4498835"/>
                <a:ext cx="1286355" cy="1381969"/>
              </a:xfrm>
              <a:custGeom>
                <a:avLst/>
                <a:gdLst>
                  <a:gd name="connsiteX0" fmla="*/ 3940588 w 4497895"/>
                  <a:gd name="connsiteY0" fmla="*/ 4832223 h 4832223"/>
                  <a:gd name="connsiteX1" fmla="*/ 557308 w 4497895"/>
                  <a:gd name="connsiteY1" fmla="*/ 4832223 h 4832223"/>
                  <a:gd name="connsiteX2" fmla="*/ 0 w 4497895"/>
                  <a:gd name="connsiteY2" fmla="*/ 4274915 h 4832223"/>
                  <a:gd name="connsiteX3" fmla="*/ 0 w 4497895"/>
                  <a:gd name="connsiteY3" fmla="*/ 557308 h 4832223"/>
                  <a:gd name="connsiteX4" fmla="*/ 557308 w 4497895"/>
                  <a:gd name="connsiteY4" fmla="*/ 0 h 4832223"/>
                  <a:gd name="connsiteX5" fmla="*/ 3940588 w 4497895"/>
                  <a:gd name="connsiteY5" fmla="*/ 0 h 4832223"/>
                  <a:gd name="connsiteX6" fmla="*/ 4497896 w 4497895"/>
                  <a:gd name="connsiteY6" fmla="*/ 557308 h 4832223"/>
                  <a:gd name="connsiteX7" fmla="*/ 4497896 w 4497895"/>
                  <a:gd name="connsiteY7" fmla="*/ 4275011 h 4832223"/>
                  <a:gd name="connsiteX8" fmla="*/ 3940588 w 4497895"/>
                  <a:gd name="connsiteY8" fmla="*/ 4832223 h 48322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497895" h="4832223">
                    <a:moveTo>
                      <a:pt x="3940588" y="4832223"/>
                    </a:moveTo>
                    <a:lnTo>
                      <a:pt x="557308" y="4832223"/>
                    </a:lnTo>
                    <a:cubicBezTo>
                      <a:pt x="249555" y="4832223"/>
                      <a:pt x="0" y="4582764"/>
                      <a:pt x="0" y="4274915"/>
                    </a:cubicBezTo>
                    <a:lnTo>
                      <a:pt x="0" y="557308"/>
                    </a:lnTo>
                    <a:cubicBezTo>
                      <a:pt x="0" y="249555"/>
                      <a:pt x="249460" y="0"/>
                      <a:pt x="557308" y="0"/>
                    </a:cubicBezTo>
                    <a:lnTo>
                      <a:pt x="3940588" y="0"/>
                    </a:lnTo>
                    <a:cubicBezTo>
                      <a:pt x="4248341" y="0"/>
                      <a:pt x="4497896" y="249460"/>
                      <a:pt x="4497896" y="557308"/>
                    </a:cubicBezTo>
                    <a:lnTo>
                      <a:pt x="4497896" y="4275011"/>
                    </a:lnTo>
                    <a:cubicBezTo>
                      <a:pt x="4497896" y="4582764"/>
                      <a:pt x="4248341" y="4832223"/>
                      <a:pt x="3940588" y="4832223"/>
                    </a:cubicBezTo>
                    <a:close/>
                  </a:path>
                </a:pathLst>
              </a:custGeom>
              <a:solidFill>
                <a:srgbClr val="F2F2F2"/>
              </a:solidFill>
              <a:ln w="9525" cap="flat">
                <a:noFill/>
                <a:prstDash val="solid"/>
                <a:miter/>
              </a:ln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defTabSz="914446"/>
                <a:endParaRPr lang="en-GB">
                  <a:solidFill>
                    <a:srgbClr val="000000"/>
                  </a:solidFill>
                  <a:latin typeface="Novo Apply Sans"/>
                </a:endParaRPr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3B83F014-5A5F-4456-A28E-B3927A9982CA}"/>
                  </a:ext>
                </a:extLst>
              </p:cNvPr>
              <p:cNvSpPr/>
              <p:nvPr/>
            </p:nvSpPr>
            <p:spPr>
              <a:xfrm>
                <a:off x="10321197" y="4360371"/>
                <a:ext cx="1544923" cy="1658897"/>
              </a:xfrm>
              <a:custGeom>
                <a:avLst/>
                <a:gdLst>
                  <a:gd name="connsiteX0" fmla="*/ 1147858 w 5402008"/>
                  <a:gd name="connsiteY0" fmla="*/ 19717 h 5800534"/>
                  <a:gd name="connsiteX1" fmla="*/ 1128141 w 5402008"/>
                  <a:gd name="connsiteY1" fmla="*/ 0 h 5800534"/>
                  <a:gd name="connsiteX2" fmla="*/ 950976 w 5402008"/>
                  <a:gd name="connsiteY2" fmla="*/ 0 h 5800534"/>
                  <a:gd name="connsiteX3" fmla="*/ 931259 w 5402008"/>
                  <a:gd name="connsiteY3" fmla="*/ 19717 h 5800534"/>
                  <a:gd name="connsiteX4" fmla="*/ 950976 w 5402008"/>
                  <a:gd name="connsiteY4" fmla="*/ 39434 h 5800534"/>
                  <a:gd name="connsiteX5" fmla="*/ 1128141 w 5402008"/>
                  <a:gd name="connsiteY5" fmla="*/ 39434 h 5800534"/>
                  <a:gd name="connsiteX6" fmla="*/ 1147858 w 5402008"/>
                  <a:gd name="connsiteY6" fmla="*/ 19717 h 5800534"/>
                  <a:gd name="connsiteX7" fmla="*/ 1261872 w 5402008"/>
                  <a:gd name="connsiteY7" fmla="*/ 5761101 h 5800534"/>
                  <a:gd name="connsiteX8" fmla="*/ 1084707 w 5402008"/>
                  <a:gd name="connsiteY8" fmla="*/ 5761101 h 5800534"/>
                  <a:gd name="connsiteX9" fmla="*/ 1064990 w 5402008"/>
                  <a:gd name="connsiteY9" fmla="*/ 5780818 h 5800534"/>
                  <a:gd name="connsiteX10" fmla="*/ 1084707 w 5402008"/>
                  <a:gd name="connsiteY10" fmla="*/ 5800535 h 5800534"/>
                  <a:gd name="connsiteX11" fmla="*/ 1261872 w 5402008"/>
                  <a:gd name="connsiteY11" fmla="*/ 5800535 h 5800534"/>
                  <a:gd name="connsiteX12" fmla="*/ 1281589 w 5402008"/>
                  <a:gd name="connsiteY12" fmla="*/ 5780818 h 5800534"/>
                  <a:gd name="connsiteX13" fmla="*/ 1261872 w 5402008"/>
                  <a:gd name="connsiteY13" fmla="*/ 5761101 h 5800534"/>
                  <a:gd name="connsiteX14" fmla="*/ 907637 w 5402008"/>
                  <a:gd name="connsiteY14" fmla="*/ 5761101 h 5800534"/>
                  <a:gd name="connsiteX15" fmla="*/ 730472 w 5402008"/>
                  <a:gd name="connsiteY15" fmla="*/ 5761101 h 5800534"/>
                  <a:gd name="connsiteX16" fmla="*/ 710756 w 5402008"/>
                  <a:gd name="connsiteY16" fmla="*/ 5780818 h 5800534"/>
                  <a:gd name="connsiteX17" fmla="*/ 730472 w 5402008"/>
                  <a:gd name="connsiteY17" fmla="*/ 5800535 h 5800534"/>
                  <a:gd name="connsiteX18" fmla="*/ 907637 w 5402008"/>
                  <a:gd name="connsiteY18" fmla="*/ 5800535 h 5800534"/>
                  <a:gd name="connsiteX19" fmla="*/ 927354 w 5402008"/>
                  <a:gd name="connsiteY19" fmla="*/ 5780818 h 5800534"/>
                  <a:gd name="connsiteX20" fmla="*/ 907637 w 5402008"/>
                  <a:gd name="connsiteY20" fmla="*/ 5761101 h 5800534"/>
                  <a:gd name="connsiteX21" fmla="*/ 441293 w 5402008"/>
                  <a:gd name="connsiteY21" fmla="*/ 40767 h 5800534"/>
                  <a:gd name="connsiteX22" fmla="*/ 416433 w 5402008"/>
                  <a:gd name="connsiteY22" fmla="*/ 27908 h 5800534"/>
                  <a:gd name="connsiteX23" fmla="*/ 253079 w 5402008"/>
                  <a:gd name="connsiteY23" fmla="*/ 109157 h 5800534"/>
                  <a:gd name="connsiteX24" fmla="*/ 248317 w 5402008"/>
                  <a:gd name="connsiteY24" fmla="*/ 136684 h 5800534"/>
                  <a:gd name="connsiteX25" fmla="*/ 264509 w 5402008"/>
                  <a:gd name="connsiteY25" fmla="*/ 145066 h 5800534"/>
                  <a:gd name="connsiteX26" fmla="*/ 275939 w 5402008"/>
                  <a:gd name="connsiteY26" fmla="*/ 141446 h 5800534"/>
                  <a:gd name="connsiteX27" fmla="*/ 428435 w 5402008"/>
                  <a:gd name="connsiteY27" fmla="*/ 65532 h 5800534"/>
                  <a:gd name="connsiteX28" fmla="*/ 441293 w 5402008"/>
                  <a:gd name="connsiteY28" fmla="*/ 40767 h 5800534"/>
                  <a:gd name="connsiteX29" fmla="*/ 2678716 w 5402008"/>
                  <a:gd name="connsiteY29" fmla="*/ 5761101 h 5800534"/>
                  <a:gd name="connsiteX30" fmla="*/ 2501551 w 5402008"/>
                  <a:gd name="connsiteY30" fmla="*/ 5761101 h 5800534"/>
                  <a:gd name="connsiteX31" fmla="*/ 2481834 w 5402008"/>
                  <a:gd name="connsiteY31" fmla="*/ 5780818 h 5800534"/>
                  <a:gd name="connsiteX32" fmla="*/ 2501551 w 5402008"/>
                  <a:gd name="connsiteY32" fmla="*/ 5800535 h 5800534"/>
                  <a:gd name="connsiteX33" fmla="*/ 2678716 w 5402008"/>
                  <a:gd name="connsiteY33" fmla="*/ 5800535 h 5800534"/>
                  <a:gd name="connsiteX34" fmla="*/ 2698433 w 5402008"/>
                  <a:gd name="connsiteY34" fmla="*/ 5780818 h 5800534"/>
                  <a:gd name="connsiteX35" fmla="*/ 2678716 w 5402008"/>
                  <a:gd name="connsiteY35" fmla="*/ 5761101 h 5800534"/>
                  <a:gd name="connsiteX36" fmla="*/ 793623 w 5402008"/>
                  <a:gd name="connsiteY36" fmla="*/ 19717 h 5800534"/>
                  <a:gd name="connsiteX37" fmla="*/ 773906 w 5402008"/>
                  <a:gd name="connsiteY37" fmla="*/ 0 h 5800534"/>
                  <a:gd name="connsiteX38" fmla="*/ 596741 w 5402008"/>
                  <a:gd name="connsiteY38" fmla="*/ 0 h 5800534"/>
                  <a:gd name="connsiteX39" fmla="*/ 577025 w 5402008"/>
                  <a:gd name="connsiteY39" fmla="*/ 19717 h 5800534"/>
                  <a:gd name="connsiteX40" fmla="*/ 596741 w 5402008"/>
                  <a:gd name="connsiteY40" fmla="*/ 39434 h 5800534"/>
                  <a:gd name="connsiteX41" fmla="*/ 773906 w 5402008"/>
                  <a:gd name="connsiteY41" fmla="*/ 39434 h 5800534"/>
                  <a:gd name="connsiteX42" fmla="*/ 793623 w 5402008"/>
                  <a:gd name="connsiteY42" fmla="*/ 19717 h 5800534"/>
                  <a:gd name="connsiteX43" fmla="*/ 1502093 w 5402008"/>
                  <a:gd name="connsiteY43" fmla="*/ 19717 h 5800534"/>
                  <a:gd name="connsiteX44" fmla="*/ 1482376 w 5402008"/>
                  <a:gd name="connsiteY44" fmla="*/ 0 h 5800534"/>
                  <a:gd name="connsiteX45" fmla="*/ 1305306 w 5402008"/>
                  <a:gd name="connsiteY45" fmla="*/ 0 h 5800534"/>
                  <a:gd name="connsiteX46" fmla="*/ 1285589 w 5402008"/>
                  <a:gd name="connsiteY46" fmla="*/ 19717 h 5800534"/>
                  <a:gd name="connsiteX47" fmla="*/ 1305306 w 5402008"/>
                  <a:gd name="connsiteY47" fmla="*/ 39434 h 5800534"/>
                  <a:gd name="connsiteX48" fmla="*/ 1482376 w 5402008"/>
                  <a:gd name="connsiteY48" fmla="*/ 39434 h 5800534"/>
                  <a:gd name="connsiteX49" fmla="*/ 1502093 w 5402008"/>
                  <a:gd name="connsiteY49" fmla="*/ 19717 h 5800534"/>
                  <a:gd name="connsiteX50" fmla="*/ 2324481 w 5402008"/>
                  <a:gd name="connsiteY50" fmla="*/ 5761101 h 5800534"/>
                  <a:gd name="connsiteX51" fmla="*/ 2147316 w 5402008"/>
                  <a:gd name="connsiteY51" fmla="*/ 5761101 h 5800534"/>
                  <a:gd name="connsiteX52" fmla="*/ 2127599 w 5402008"/>
                  <a:gd name="connsiteY52" fmla="*/ 5780818 h 5800534"/>
                  <a:gd name="connsiteX53" fmla="*/ 2147316 w 5402008"/>
                  <a:gd name="connsiteY53" fmla="*/ 5800535 h 5800534"/>
                  <a:gd name="connsiteX54" fmla="*/ 2324481 w 5402008"/>
                  <a:gd name="connsiteY54" fmla="*/ 5800535 h 5800534"/>
                  <a:gd name="connsiteX55" fmla="*/ 2344198 w 5402008"/>
                  <a:gd name="connsiteY55" fmla="*/ 5780818 h 5800534"/>
                  <a:gd name="connsiteX56" fmla="*/ 2324481 w 5402008"/>
                  <a:gd name="connsiteY56" fmla="*/ 5761101 h 5800534"/>
                  <a:gd name="connsiteX57" fmla="*/ 2564797 w 5402008"/>
                  <a:gd name="connsiteY57" fmla="*/ 19717 h 5800534"/>
                  <a:gd name="connsiteX58" fmla="*/ 2545080 w 5402008"/>
                  <a:gd name="connsiteY58" fmla="*/ 0 h 5800534"/>
                  <a:gd name="connsiteX59" fmla="*/ 2367915 w 5402008"/>
                  <a:gd name="connsiteY59" fmla="*/ 0 h 5800534"/>
                  <a:gd name="connsiteX60" fmla="*/ 2348198 w 5402008"/>
                  <a:gd name="connsiteY60" fmla="*/ 19717 h 5800534"/>
                  <a:gd name="connsiteX61" fmla="*/ 2367915 w 5402008"/>
                  <a:gd name="connsiteY61" fmla="*/ 39434 h 5800534"/>
                  <a:gd name="connsiteX62" fmla="*/ 2545080 w 5402008"/>
                  <a:gd name="connsiteY62" fmla="*/ 39434 h 5800534"/>
                  <a:gd name="connsiteX63" fmla="*/ 2564797 w 5402008"/>
                  <a:gd name="connsiteY63" fmla="*/ 19717 h 5800534"/>
                  <a:gd name="connsiteX64" fmla="*/ 129254 w 5402008"/>
                  <a:gd name="connsiteY64" fmla="*/ 5506403 h 5800534"/>
                  <a:gd name="connsiteX65" fmla="*/ 101918 w 5402008"/>
                  <a:gd name="connsiteY65" fmla="*/ 5500592 h 5800534"/>
                  <a:gd name="connsiteX66" fmla="*/ 96107 w 5402008"/>
                  <a:gd name="connsiteY66" fmla="*/ 5527930 h 5800534"/>
                  <a:gd name="connsiteX67" fmla="*/ 217551 w 5402008"/>
                  <a:gd name="connsiteY67" fmla="*/ 5664042 h 5800534"/>
                  <a:gd name="connsiteX68" fmla="*/ 230124 w 5402008"/>
                  <a:gd name="connsiteY68" fmla="*/ 5668613 h 5800534"/>
                  <a:gd name="connsiteX69" fmla="*/ 245364 w 5402008"/>
                  <a:gd name="connsiteY69" fmla="*/ 5661470 h 5800534"/>
                  <a:gd name="connsiteX70" fmla="*/ 242697 w 5402008"/>
                  <a:gd name="connsiteY70" fmla="*/ 5633657 h 5800534"/>
                  <a:gd name="connsiteX71" fmla="*/ 129254 w 5402008"/>
                  <a:gd name="connsiteY71" fmla="*/ 5506403 h 5800534"/>
                  <a:gd name="connsiteX72" fmla="*/ 2210562 w 5402008"/>
                  <a:gd name="connsiteY72" fmla="*/ 19717 h 5800534"/>
                  <a:gd name="connsiteX73" fmla="*/ 2190845 w 5402008"/>
                  <a:gd name="connsiteY73" fmla="*/ 0 h 5800534"/>
                  <a:gd name="connsiteX74" fmla="*/ 2013776 w 5402008"/>
                  <a:gd name="connsiteY74" fmla="*/ 0 h 5800534"/>
                  <a:gd name="connsiteX75" fmla="*/ 1994059 w 5402008"/>
                  <a:gd name="connsiteY75" fmla="*/ 19717 h 5800534"/>
                  <a:gd name="connsiteX76" fmla="*/ 2013776 w 5402008"/>
                  <a:gd name="connsiteY76" fmla="*/ 39434 h 5800534"/>
                  <a:gd name="connsiteX77" fmla="*/ 2190845 w 5402008"/>
                  <a:gd name="connsiteY77" fmla="*/ 39434 h 5800534"/>
                  <a:gd name="connsiteX78" fmla="*/ 2210562 w 5402008"/>
                  <a:gd name="connsiteY78" fmla="*/ 19717 h 5800534"/>
                  <a:gd name="connsiteX79" fmla="*/ 1970246 w 5402008"/>
                  <a:gd name="connsiteY79" fmla="*/ 5761101 h 5800534"/>
                  <a:gd name="connsiteX80" fmla="*/ 1793177 w 5402008"/>
                  <a:gd name="connsiteY80" fmla="*/ 5761101 h 5800534"/>
                  <a:gd name="connsiteX81" fmla="*/ 1773460 w 5402008"/>
                  <a:gd name="connsiteY81" fmla="*/ 5780818 h 5800534"/>
                  <a:gd name="connsiteX82" fmla="*/ 1793177 w 5402008"/>
                  <a:gd name="connsiteY82" fmla="*/ 5800535 h 5800534"/>
                  <a:gd name="connsiteX83" fmla="*/ 1970246 w 5402008"/>
                  <a:gd name="connsiteY83" fmla="*/ 5800535 h 5800534"/>
                  <a:gd name="connsiteX84" fmla="*/ 1989963 w 5402008"/>
                  <a:gd name="connsiteY84" fmla="*/ 5780818 h 5800534"/>
                  <a:gd name="connsiteX85" fmla="*/ 1970246 w 5402008"/>
                  <a:gd name="connsiteY85" fmla="*/ 5761101 h 5800534"/>
                  <a:gd name="connsiteX86" fmla="*/ 1616012 w 5402008"/>
                  <a:gd name="connsiteY86" fmla="*/ 5761101 h 5800534"/>
                  <a:gd name="connsiteX87" fmla="*/ 1438942 w 5402008"/>
                  <a:gd name="connsiteY87" fmla="*/ 5761101 h 5800534"/>
                  <a:gd name="connsiteX88" fmla="*/ 1419225 w 5402008"/>
                  <a:gd name="connsiteY88" fmla="*/ 5780818 h 5800534"/>
                  <a:gd name="connsiteX89" fmla="*/ 1438942 w 5402008"/>
                  <a:gd name="connsiteY89" fmla="*/ 5800535 h 5800534"/>
                  <a:gd name="connsiteX90" fmla="*/ 1616012 w 5402008"/>
                  <a:gd name="connsiteY90" fmla="*/ 5800535 h 5800534"/>
                  <a:gd name="connsiteX91" fmla="*/ 1635728 w 5402008"/>
                  <a:gd name="connsiteY91" fmla="*/ 5780818 h 5800534"/>
                  <a:gd name="connsiteX92" fmla="*/ 1616012 w 5402008"/>
                  <a:gd name="connsiteY92" fmla="*/ 5761101 h 5800534"/>
                  <a:gd name="connsiteX93" fmla="*/ 1856327 w 5402008"/>
                  <a:gd name="connsiteY93" fmla="*/ 19717 h 5800534"/>
                  <a:gd name="connsiteX94" fmla="*/ 1836611 w 5402008"/>
                  <a:gd name="connsiteY94" fmla="*/ 0 h 5800534"/>
                  <a:gd name="connsiteX95" fmla="*/ 1659541 w 5402008"/>
                  <a:gd name="connsiteY95" fmla="*/ 0 h 5800534"/>
                  <a:gd name="connsiteX96" fmla="*/ 1639824 w 5402008"/>
                  <a:gd name="connsiteY96" fmla="*/ 19717 h 5800534"/>
                  <a:gd name="connsiteX97" fmla="*/ 1659541 w 5402008"/>
                  <a:gd name="connsiteY97" fmla="*/ 39434 h 5800534"/>
                  <a:gd name="connsiteX98" fmla="*/ 1836611 w 5402008"/>
                  <a:gd name="connsiteY98" fmla="*/ 39434 h 5800534"/>
                  <a:gd name="connsiteX99" fmla="*/ 1856327 w 5402008"/>
                  <a:gd name="connsiteY99" fmla="*/ 19717 h 5800534"/>
                  <a:gd name="connsiteX100" fmla="*/ 554927 w 5402008"/>
                  <a:gd name="connsiteY100" fmla="*/ 5759482 h 5800534"/>
                  <a:gd name="connsiteX101" fmla="*/ 389096 w 5402008"/>
                  <a:gd name="connsiteY101" fmla="*/ 5720715 h 5800534"/>
                  <a:gd name="connsiteX102" fmla="*/ 363379 w 5402008"/>
                  <a:gd name="connsiteY102" fmla="*/ 5731669 h 5800534"/>
                  <a:gd name="connsiteX103" fmla="*/ 374333 w 5402008"/>
                  <a:gd name="connsiteY103" fmla="*/ 5757386 h 5800534"/>
                  <a:gd name="connsiteX104" fmla="*/ 551974 w 5402008"/>
                  <a:gd name="connsiteY104" fmla="*/ 5798915 h 5800534"/>
                  <a:gd name="connsiteX105" fmla="*/ 553498 w 5402008"/>
                  <a:gd name="connsiteY105" fmla="*/ 5799011 h 5800534"/>
                  <a:gd name="connsiteX106" fmla="*/ 573215 w 5402008"/>
                  <a:gd name="connsiteY106" fmla="*/ 5780723 h 5800534"/>
                  <a:gd name="connsiteX107" fmla="*/ 554927 w 5402008"/>
                  <a:gd name="connsiteY107" fmla="*/ 5759482 h 5800534"/>
                  <a:gd name="connsiteX108" fmla="*/ 19717 w 5402008"/>
                  <a:gd name="connsiteY108" fmla="*/ 2189893 h 5800534"/>
                  <a:gd name="connsiteX109" fmla="*/ 39434 w 5402008"/>
                  <a:gd name="connsiteY109" fmla="*/ 2170176 h 5800534"/>
                  <a:gd name="connsiteX110" fmla="*/ 39434 w 5402008"/>
                  <a:gd name="connsiteY110" fmla="*/ 1993011 h 5800534"/>
                  <a:gd name="connsiteX111" fmla="*/ 19717 w 5402008"/>
                  <a:gd name="connsiteY111" fmla="*/ 1973294 h 5800534"/>
                  <a:gd name="connsiteX112" fmla="*/ 0 w 5402008"/>
                  <a:gd name="connsiteY112" fmla="*/ 1993011 h 5800534"/>
                  <a:gd name="connsiteX113" fmla="*/ 0 w 5402008"/>
                  <a:gd name="connsiteY113" fmla="*/ 2170176 h 5800534"/>
                  <a:gd name="connsiteX114" fmla="*/ 19717 w 5402008"/>
                  <a:gd name="connsiteY114" fmla="*/ 2189893 h 5800534"/>
                  <a:gd name="connsiteX115" fmla="*/ 19717 w 5402008"/>
                  <a:gd name="connsiteY115" fmla="*/ 2544127 h 5800534"/>
                  <a:gd name="connsiteX116" fmla="*/ 39434 w 5402008"/>
                  <a:gd name="connsiteY116" fmla="*/ 2524411 h 5800534"/>
                  <a:gd name="connsiteX117" fmla="*/ 39434 w 5402008"/>
                  <a:gd name="connsiteY117" fmla="*/ 2347341 h 5800534"/>
                  <a:gd name="connsiteX118" fmla="*/ 19717 w 5402008"/>
                  <a:gd name="connsiteY118" fmla="*/ 2327624 h 5800534"/>
                  <a:gd name="connsiteX119" fmla="*/ 0 w 5402008"/>
                  <a:gd name="connsiteY119" fmla="*/ 2347341 h 5800534"/>
                  <a:gd name="connsiteX120" fmla="*/ 0 w 5402008"/>
                  <a:gd name="connsiteY120" fmla="*/ 2524411 h 5800534"/>
                  <a:gd name="connsiteX121" fmla="*/ 19717 w 5402008"/>
                  <a:gd name="connsiteY121" fmla="*/ 2544127 h 5800534"/>
                  <a:gd name="connsiteX122" fmla="*/ 19717 w 5402008"/>
                  <a:gd name="connsiteY122" fmla="*/ 1835658 h 5800534"/>
                  <a:gd name="connsiteX123" fmla="*/ 39434 w 5402008"/>
                  <a:gd name="connsiteY123" fmla="*/ 1815941 h 5800534"/>
                  <a:gd name="connsiteX124" fmla="*/ 39434 w 5402008"/>
                  <a:gd name="connsiteY124" fmla="*/ 1638776 h 5800534"/>
                  <a:gd name="connsiteX125" fmla="*/ 19717 w 5402008"/>
                  <a:gd name="connsiteY125" fmla="*/ 1619060 h 5800534"/>
                  <a:gd name="connsiteX126" fmla="*/ 0 w 5402008"/>
                  <a:gd name="connsiteY126" fmla="*/ 1638776 h 5800534"/>
                  <a:gd name="connsiteX127" fmla="*/ 0 w 5402008"/>
                  <a:gd name="connsiteY127" fmla="*/ 1815941 h 5800534"/>
                  <a:gd name="connsiteX128" fmla="*/ 19717 w 5402008"/>
                  <a:gd name="connsiteY128" fmla="*/ 1835658 h 5800534"/>
                  <a:gd name="connsiteX129" fmla="*/ 19717 w 5402008"/>
                  <a:gd name="connsiteY129" fmla="*/ 772954 h 5800534"/>
                  <a:gd name="connsiteX130" fmla="*/ 39434 w 5402008"/>
                  <a:gd name="connsiteY130" fmla="*/ 753237 h 5800534"/>
                  <a:gd name="connsiteX131" fmla="*/ 39434 w 5402008"/>
                  <a:gd name="connsiteY131" fmla="*/ 597789 h 5800534"/>
                  <a:gd name="connsiteX132" fmla="*/ 39815 w 5402008"/>
                  <a:gd name="connsiteY132" fmla="*/ 576739 h 5800534"/>
                  <a:gd name="connsiteX133" fmla="*/ 20765 w 5402008"/>
                  <a:gd name="connsiteY133" fmla="*/ 556260 h 5800534"/>
                  <a:gd name="connsiteX134" fmla="*/ 286 w 5402008"/>
                  <a:gd name="connsiteY134" fmla="*/ 575310 h 5800534"/>
                  <a:gd name="connsiteX135" fmla="*/ 0 w 5402008"/>
                  <a:gd name="connsiteY135" fmla="*/ 597789 h 5800534"/>
                  <a:gd name="connsiteX136" fmla="*/ 0 w 5402008"/>
                  <a:gd name="connsiteY136" fmla="*/ 753142 h 5800534"/>
                  <a:gd name="connsiteX137" fmla="*/ 19717 w 5402008"/>
                  <a:gd name="connsiteY137" fmla="*/ 772954 h 5800534"/>
                  <a:gd name="connsiteX138" fmla="*/ 19717 w 5402008"/>
                  <a:gd name="connsiteY138" fmla="*/ 1481423 h 5800534"/>
                  <a:gd name="connsiteX139" fmla="*/ 39434 w 5402008"/>
                  <a:gd name="connsiteY139" fmla="*/ 1461707 h 5800534"/>
                  <a:gd name="connsiteX140" fmla="*/ 39434 w 5402008"/>
                  <a:gd name="connsiteY140" fmla="*/ 1284637 h 5800534"/>
                  <a:gd name="connsiteX141" fmla="*/ 19717 w 5402008"/>
                  <a:gd name="connsiteY141" fmla="*/ 1264920 h 5800534"/>
                  <a:gd name="connsiteX142" fmla="*/ 0 w 5402008"/>
                  <a:gd name="connsiteY142" fmla="*/ 1284637 h 5800534"/>
                  <a:gd name="connsiteX143" fmla="*/ 0 w 5402008"/>
                  <a:gd name="connsiteY143" fmla="*/ 1461707 h 5800534"/>
                  <a:gd name="connsiteX144" fmla="*/ 19717 w 5402008"/>
                  <a:gd name="connsiteY144" fmla="*/ 1481423 h 5800534"/>
                  <a:gd name="connsiteX145" fmla="*/ 19717 w 5402008"/>
                  <a:gd name="connsiteY145" fmla="*/ 2898362 h 5800534"/>
                  <a:gd name="connsiteX146" fmla="*/ 39434 w 5402008"/>
                  <a:gd name="connsiteY146" fmla="*/ 2878646 h 5800534"/>
                  <a:gd name="connsiteX147" fmla="*/ 39434 w 5402008"/>
                  <a:gd name="connsiteY147" fmla="*/ 2701481 h 5800534"/>
                  <a:gd name="connsiteX148" fmla="*/ 19717 w 5402008"/>
                  <a:gd name="connsiteY148" fmla="*/ 2681764 h 5800534"/>
                  <a:gd name="connsiteX149" fmla="*/ 0 w 5402008"/>
                  <a:gd name="connsiteY149" fmla="*/ 2701481 h 5800534"/>
                  <a:gd name="connsiteX150" fmla="*/ 0 w 5402008"/>
                  <a:gd name="connsiteY150" fmla="*/ 2878646 h 5800534"/>
                  <a:gd name="connsiteX151" fmla="*/ 19717 w 5402008"/>
                  <a:gd name="connsiteY151" fmla="*/ 2898362 h 5800534"/>
                  <a:gd name="connsiteX152" fmla="*/ 19717 w 5402008"/>
                  <a:gd name="connsiteY152" fmla="*/ 1127189 h 5800534"/>
                  <a:gd name="connsiteX153" fmla="*/ 39434 w 5402008"/>
                  <a:gd name="connsiteY153" fmla="*/ 1107472 h 5800534"/>
                  <a:gd name="connsiteX154" fmla="*/ 39434 w 5402008"/>
                  <a:gd name="connsiteY154" fmla="*/ 930307 h 5800534"/>
                  <a:gd name="connsiteX155" fmla="*/ 19717 w 5402008"/>
                  <a:gd name="connsiteY155" fmla="*/ 910590 h 5800534"/>
                  <a:gd name="connsiteX156" fmla="*/ 0 w 5402008"/>
                  <a:gd name="connsiteY156" fmla="*/ 930307 h 5800534"/>
                  <a:gd name="connsiteX157" fmla="*/ 0 w 5402008"/>
                  <a:gd name="connsiteY157" fmla="*/ 1107472 h 5800534"/>
                  <a:gd name="connsiteX158" fmla="*/ 19717 w 5402008"/>
                  <a:gd name="connsiteY158" fmla="*/ 1127189 h 5800534"/>
                  <a:gd name="connsiteX159" fmla="*/ 19717 w 5402008"/>
                  <a:gd name="connsiteY159" fmla="*/ 3961067 h 5800534"/>
                  <a:gd name="connsiteX160" fmla="*/ 39434 w 5402008"/>
                  <a:gd name="connsiteY160" fmla="*/ 3941350 h 5800534"/>
                  <a:gd name="connsiteX161" fmla="*/ 39434 w 5402008"/>
                  <a:gd name="connsiteY161" fmla="*/ 3764185 h 5800534"/>
                  <a:gd name="connsiteX162" fmla="*/ 19717 w 5402008"/>
                  <a:gd name="connsiteY162" fmla="*/ 3744468 h 5800534"/>
                  <a:gd name="connsiteX163" fmla="*/ 0 w 5402008"/>
                  <a:gd name="connsiteY163" fmla="*/ 3764185 h 5800534"/>
                  <a:gd name="connsiteX164" fmla="*/ 0 w 5402008"/>
                  <a:gd name="connsiteY164" fmla="*/ 3941350 h 5800534"/>
                  <a:gd name="connsiteX165" fmla="*/ 19717 w 5402008"/>
                  <a:gd name="connsiteY165" fmla="*/ 3961067 h 5800534"/>
                  <a:gd name="connsiteX166" fmla="*/ 19717 w 5402008"/>
                  <a:gd name="connsiteY166" fmla="*/ 5023771 h 5800534"/>
                  <a:gd name="connsiteX167" fmla="*/ 39434 w 5402008"/>
                  <a:gd name="connsiteY167" fmla="*/ 5004055 h 5800534"/>
                  <a:gd name="connsiteX168" fmla="*/ 39434 w 5402008"/>
                  <a:gd name="connsiteY168" fmla="*/ 4826889 h 5800534"/>
                  <a:gd name="connsiteX169" fmla="*/ 19717 w 5402008"/>
                  <a:gd name="connsiteY169" fmla="*/ 4807173 h 5800534"/>
                  <a:gd name="connsiteX170" fmla="*/ 0 w 5402008"/>
                  <a:gd name="connsiteY170" fmla="*/ 4826889 h 5800534"/>
                  <a:gd name="connsiteX171" fmla="*/ 0 w 5402008"/>
                  <a:gd name="connsiteY171" fmla="*/ 5004055 h 5800534"/>
                  <a:gd name="connsiteX172" fmla="*/ 19717 w 5402008"/>
                  <a:gd name="connsiteY172" fmla="*/ 5023771 h 5800534"/>
                  <a:gd name="connsiteX173" fmla="*/ 19717 w 5402008"/>
                  <a:gd name="connsiteY173" fmla="*/ 4669536 h 5800534"/>
                  <a:gd name="connsiteX174" fmla="*/ 39434 w 5402008"/>
                  <a:gd name="connsiteY174" fmla="*/ 4649819 h 5800534"/>
                  <a:gd name="connsiteX175" fmla="*/ 39434 w 5402008"/>
                  <a:gd name="connsiteY175" fmla="*/ 4472654 h 5800534"/>
                  <a:gd name="connsiteX176" fmla="*/ 19717 w 5402008"/>
                  <a:gd name="connsiteY176" fmla="*/ 4452938 h 5800534"/>
                  <a:gd name="connsiteX177" fmla="*/ 0 w 5402008"/>
                  <a:gd name="connsiteY177" fmla="*/ 4472654 h 5800534"/>
                  <a:gd name="connsiteX178" fmla="*/ 0 w 5402008"/>
                  <a:gd name="connsiteY178" fmla="*/ 4649819 h 5800534"/>
                  <a:gd name="connsiteX179" fmla="*/ 19717 w 5402008"/>
                  <a:gd name="connsiteY179" fmla="*/ 4669536 h 5800534"/>
                  <a:gd name="connsiteX180" fmla="*/ 39529 w 5402008"/>
                  <a:gd name="connsiteY180" fmla="*/ 5202746 h 5800534"/>
                  <a:gd name="connsiteX181" fmla="*/ 39529 w 5402008"/>
                  <a:gd name="connsiteY181" fmla="*/ 5181124 h 5800534"/>
                  <a:gd name="connsiteX182" fmla="*/ 19812 w 5402008"/>
                  <a:gd name="connsiteY182" fmla="*/ 5161407 h 5800534"/>
                  <a:gd name="connsiteX183" fmla="*/ 95 w 5402008"/>
                  <a:gd name="connsiteY183" fmla="*/ 5181124 h 5800534"/>
                  <a:gd name="connsiteX184" fmla="*/ 95 w 5402008"/>
                  <a:gd name="connsiteY184" fmla="*/ 5202746 h 5800534"/>
                  <a:gd name="connsiteX185" fmla="*/ 21431 w 5402008"/>
                  <a:gd name="connsiteY185" fmla="*/ 5361527 h 5800534"/>
                  <a:gd name="connsiteX186" fmla="*/ 40481 w 5402008"/>
                  <a:gd name="connsiteY186" fmla="*/ 5376101 h 5800534"/>
                  <a:gd name="connsiteX187" fmla="*/ 45720 w 5402008"/>
                  <a:gd name="connsiteY187" fmla="*/ 5375339 h 5800534"/>
                  <a:gd name="connsiteX188" fmla="*/ 59531 w 5402008"/>
                  <a:gd name="connsiteY188" fmla="*/ 5351050 h 5800534"/>
                  <a:gd name="connsiteX189" fmla="*/ 39529 w 5402008"/>
                  <a:gd name="connsiteY189" fmla="*/ 5202746 h 5800534"/>
                  <a:gd name="connsiteX190" fmla="*/ 149638 w 5402008"/>
                  <a:gd name="connsiteY190" fmla="*/ 232124 h 5800534"/>
                  <a:gd name="connsiteX191" fmla="*/ 121920 w 5402008"/>
                  <a:gd name="connsiteY191" fmla="*/ 235934 h 5800534"/>
                  <a:gd name="connsiteX192" fmla="*/ 34862 w 5402008"/>
                  <a:gd name="connsiteY192" fmla="*/ 396240 h 5800534"/>
                  <a:gd name="connsiteX193" fmla="*/ 46768 w 5402008"/>
                  <a:gd name="connsiteY193" fmla="*/ 421481 h 5800534"/>
                  <a:gd name="connsiteX194" fmla="*/ 53435 w 5402008"/>
                  <a:gd name="connsiteY194" fmla="*/ 422624 h 5800534"/>
                  <a:gd name="connsiteX195" fmla="*/ 72009 w 5402008"/>
                  <a:gd name="connsiteY195" fmla="*/ 409480 h 5800534"/>
                  <a:gd name="connsiteX196" fmla="*/ 153353 w 5402008"/>
                  <a:gd name="connsiteY196" fmla="*/ 259842 h 5800534"/>
                  <a:gd name="connsiteX197" fmla="*/ 149638 w 5402008"/>
                  <a:gd name="connsiteY197" fmla="*/ 232124 h 5800534"/>
                  <a:gd name="connsiteX198" fmla="*/ 19717 w 5402008"/>
                  <a:gd name="connsiteY198" fmla="*/ 4315301 h 5800534"/>
                  <a:gd name="connsiteX199" fmla="*/ 39434 w 5402008"/>
                  <a:gd name="connsiteY199" fmla="*/ 4295585 h 5800534"/>
                  <a:gd name="connsiteX200" fmla="*/ 39434 w 5402008"/>
                  <a:gd name="connsiteY200" fmla="*/ 4118515 h 5800534"/>
                  <a:gd name="connsiteX201" fmla="*/ 19717 w 5402008"/>
                  <a:gd name="connsiteY201" fmla="*/ 4098798 h 5800534"/>
                  <a:gd name="connsiteX202" fmla="*/ 0 w 5402008"/>
                  <a:gd name="connsiteY202" fmla="*/ 4118515 h 5800534"/>
                  <a:gd name="connsiteX203" fmla="*/ 0 w 5402008"/>
                  <a:gd name="connsiteY203" fmla="*/ 4295585 h 5800534"/>
                  <a:gd name="connsiteX204" fmla="*/ 19717 w 5402008"/>
                  <a:gd name="connsiteY204" fmla="*/ 4315301 h 5800534"/>
                  <a:gd name="connsiteX205" fmla="*/ 19717 w 5402008"/>
                  <a:gd name="connsiteY205" fmla="*/ 3606832 h 5800534"/>
                  <a:gd name="connsiteX206" fmla="*/ 39434 w 5402008"/>
                  <a:gd name="connsiteY206" fmla="*/ 3587020 h 5800534"/>
                  <a:gd name="connsiteX207" fmla="*/ 39434 w 5402008"/>
                  <a:gd name="connsiteY207" fmla="*/ 3409855 h 5800534"/>
                  <a:gd name="connsiteX208" fmla="*/ 19717 w 5402008"/>
                  <a:gd name="connsiteY208" fmla="*/ 3390138 h 5800534"/>
                  <a:gd name="connsiteX209" fmla="*/ 0 w 5402008"/>
                  <a:gd name="connsiteY209" fmla="*/ 3409855 h 5800534"/>
                  <a:gd name="connsiteX210" fmla="*/ 0 w 5402008"/>
                  <a:gd name="connsiteY210" fmla="*/ 3587020 h 5800534"/>
                  <a:gd name="connsiteX211" fmla="*/ 19717 w 5402008"/>
                  <a:gd name="connsiteY211" fmla="*/ 3606832 h 5800534"/>
                  <a:gd name="connsiteX212" fmla="*/ 19717 w 5402008"/>
                  <a:gd name="connsiteY212" fmla="*/ 3252597 h 5800534"/>
                  <a:gd name="connsiteX213" fmla="*/ 39434 w 5402008"/>
                  <a:gd name="connsiteY213" fmla="*/ 3232881 h 5800534"/>
                  <a:gd name="connsiteX214" fmla="*/ 39434 w 5402008"/>
                  <a:gd name="connsiteY214" fmla="*/ 3055715 h 5800534"/>
                  <a:gd name="connsiteX215" fmla="*/ 19717 w 5402008"/>
                  <a:gd name="connsiteY215" fmla="*/ 3035999 h 5800534"/>
                  <a:gd name="connsiteX216" fmla="*/ 0 w 5402008"/>
                  <a:gd name="connsiteY216" fmla="*/ 3055715 h 5800534"/>
                  <a:gd name="connsiteX217" fmla="*/ 0 w 5402008"/>
                  <a:gd name="connsiteY217" fmla="*/ 3232881 h 5800534"/>
                  <a:gd name="connsiteX218" fmla="*/ 19717 w 5402008"/>
                  <a:gd name="connsiteY218" fmla="*/ 3252597 h 5800534"/>
                  <a:gd name="connsiteX219" fmla="*/ 5382292 w 5402008"/>
                  <a:gd name="connsiteY219" fmla="*/ 3609594 h 5800534"/>
                  <a:gd name="connsiteX220" fmla="*/ 5362575 w 5402008"/>
                  <a:gd name="connsiteY220" fmla="*/ 3629311 h 5800534"/>
                  <a:gd name="connsiteX221" fmla="*/ 5362575 w 5402008"/>
                  <a:gd name="connsiteY221" fmla="*/ 3806381 h 5800534"/>
                  <a:gd name="connsiteX222" fmla="*/ 5382292 w 5402008"/>
                  <a:gd name="connsiteY222" fmla="*/ 3826098 h 5800534"/>
                  <a:gd name="connsiteX223" fmla="*/ 5402009 w 5402008"/>
                  <a:gd name="connsiteY223" fmla="*/ 3806381 h 5800534"/>
                  <a:gd name="connsiteX224" fmla="*/ 5402009 w 5402008"/>
                  <a:gd name="connsiteY224" fmla="*/ 3629311 h 5800534"/>
                  <a:gd name="connsiteX225" fmla="*/ 5382292 w 5402008"/>
                  <a:gd name="connsiteY225" fmla="*/ 3609594 h 5800534"/>
                  <a:gd name="connsiteX226" fmla="*/ 2919032 w 5402008"/>
                  <a:gd name="connsiteY226" fmla="*/ 19717 h 5800534"/>
                  <a:gd name="connsiteX227" fmla="*/ 2899315 w 5402008"/>
                  <a:gd name="connsiteY227" fmla="*/ 0 h 5800534"/>
                  <a:gd name="connsiteX228" fmla="*/ 2722245 w 5402008"/>
                  <a:gd name="connsiteY228" fmla="*/ 0 h 5800534"/>
                  <a:gd name="connsiteX229" fmla="*/ 2702528 w 5402008"/>
                  <a:gd name="connsiteY229" fmla="*/ 19717 h 5800534"/>
                  <a:gd name="connsiteX230" fmla="*/ 2722245 w 5402008"/>
                  <a:gd name="connsiteY230" fmla="*/ 39434 h 5800534"/>
                  <a:gd name="connsiteX231" fmla="*/ 2899315 w 5402008"/>
                  <a:gd name="connsiteY231" fmla="*/ 39434 h 5800534"/>
                  <a:gd name="connsiteX232" fmla="*/ 2919032 w 5402008"/>
                  <a:gd name="connsiteY232" fmla="*/ 19717 h 5800534"/>
                  <a:gd name="connsiteX233" fmla="*/ 5382292 w 5402008"/>
                  <a:gd name="connsiteY233" fmla="*/ 3963829 h 5800534"/>
                  <a:gd name="connsiteX234" fmla="*/ 5362575 w 5402008"/>
                  <a:gd name="connsiteY234" fmla="*/ 3983546 h 5800534"/>
                  <a:gd name="connsiteX235" fmla="*/ 5362575 w 5402008"/>
                  <a:gd name="connsiteY235" fmla="*/ 4160711 h 5800534"/>
                  <a:gd name="connsiteX236" fmla="*/ 5382292 w 5402008"/>
                  <a:gd name="connsiteY236" fmla="*/ 4180427 h 5800534"/>
                  <a:gd name="connsiteX237" fmla="*/ 5402009 w 5402008"/>
                  <a:gd name="connsiteY237" fmla="*/ 4160711 h 5800534"/>
                  <a:gd name="connsiteX238" fmla="*/ 5402009 w 5402008"/>
                  <a:gd name="connsiteY238" fmla="*/ 3983546 h 5800534"/>
                  <a:gd name="connsiteX239" fmla="*/ 5382292 w 5402008"/>
                  <a:gd name="connsiteY239" fmla="*/ 3963829 h 5800534"/>
                  <a:gd name="connsiteX240" fmla="*/ 5382292 w 5402008"/>
                  <a:gd name="connsiteY240" fmla="*/ 4318064 h 5800534"/>
                  <a:gd name="connsiteX241" fmla="*/ 5362575 w 5402008"/>
                  <a:gd name="connsiteY241" fmla="*/ 4337781 h 5800534"/>
                  <a:gd name="connsiteX242" fmla="*/ 5362575 w 5402008"/>
                  <a:gd name="connsiteY242" fmla="*/ 4514945 h 5800534"/>
                  <a:gd name="connsiteX243" fmla="*/ 5382292 w 5402008"/>
                  <a:gd name="connsiteY243" fmla="*/ 4534662 h 5800534"/>
                  <a:gd name="connsiteX244" fmla="*/ 5402009 w 5402008"/>
                  <a:gd name="connsiteY244" fmla="*/ 4514945 h 5800534"/>
                  <a:gd name="connsiteX245" fmla="*/ 5402009 w 5402008"/>
                  <a:gd name="connsiteY245" fmla="*/ 4337781 h 5800534"/>
                  <a:gd name="connsiteX246" fmla="*/ 5382292 w 5402008"/>
                  <a:gd name="connsiteY246" fmla="*/ 4318064 h 5800534"/>
                  <a:gd name="connsiteX247" fmla="*/ 5382292 w 5402008"/>
                  <a:gd name="connsiteY247" fmla="*/ 5026533 h 5800534"/>
                  <a:gd name="connsiteX248" fmla="*/ 5362575 w 5402008"/>
                  <a:gd name="connsiteY248" fmla="*/ 5046250 h 5800534"/>
                  <a:gd name="connsiteX249" fmla="*/ 5362575 w 5402008"/>
                  <a:gd name="connsiteY249" fmla="*/ 5202746 h 5800534"/>
                  <a:gd name="connsiteX250" fmla="*/ 5362194 w 5402008"/>
                  <a:gd name="connsiteY250" fmla="*/ 5222748 h 5800534"/>
                  <a:gd name="connsiteX251" fmla="*/ 5381244 w 5402008"/>
                  <a:gd name="connsiteY251" fmla="*/ 5243227 h 5800534"/>
                  <a:gd name="connsiteX252" fmla="*/ 5381911 w 5402008"/>
                  <a:gd name="connsiteY252" fmla="*/ 5243227 h 5800534"/>
                  <a:gd name="connsiteX253" fmla="*/ 5401628 w 5402008"/>
                  <a:gd name="connsiteY253" fmla="*/ 5224177 h 5800534"/>
                  <a:gd name="connsiteX254" fmla="*/ 5402009 w 5402008"/>
                  <a:gd name="connsiteY254" fmla="*/ 5202841 h 5800534"/>
                  <a:gd name="connsiteX255" fmla="*/ 5402009 w 5402008"/>
                  <a:gd name="connsiteY255" fmla="*/ 5046346 h 5800534"/>
                  <a:gd name="connsiteX256" fmla="*/ 5382292 w 5402008"/>
                  <a:gd name="connsiteY256" fmla="*/ 5026533 h 5800534"/>
                  <a:gd name="connsiteX257" fmla="*/ 5382292 w 5402008"/>
                  <a:gd name="connsiteY257" fmla="*/ 4672299 h 5800534"/>
                  <a:gd name="connsiteX258" fmla="*/ 5362575 w 5402008"/>
                  <a:gd name="connsiteY258" fmla="*/ 4692015 h 5800534"/>
                  <a:gd name="connsiteX259" fmla="*/ 5362575 w 5402008"/>
                  <a:gd name="connsiteY259" fmla="*/ 4869085 h 5800534"/>
                  <a:gd name="connsiteX260" fmla="*/ 5382292 w 5402008"/>
                  <a:gd name="connsiteY260" fmla="*/ 4888802 h 5800534"/>
                  <a:gd name="connsiteX261" fmla="*/ 5402009 w 5402008"/>
                  <a:gd name="connsiteY261" fmla="*/ 4869085 h 5800534"/>
                  <a:gd name="connsiteX262" fmla="*/ 5402009 w 5402008"/>
                  <a:gd name="connsiteY262" fmla="*/ 4692015 h 5800534"/>
                  <a:gd name="connsiteX263" fmla="*/ 5382292 w 5402008"/>
                  <a:gd name="connsiteY263" fmla="*/ 4672299 h 5800534"/>
                  <a:gd name="connsiteX264" fmla="*/ 5382292 w 5402008"/>
                  <a:gd name="connsiteY264" fmla="*/ 2901125 h 5800534"/>
                  <a:gd name="connsiteX265" fmla="*/ 5362575 w 5402008"/>
                  <a:gd name="connsiteY265" fmla="*/ 2920841 h 5800534"/>
                  <a:gd name="connsiteX266" fmla="*/ 5362575 w 5402008"/>
                  <a:gd name="connsiteY266" fmla="*/ 3097911 h 5800534"/>
                  <a:gd name="connsiteX267" fmla="*/ 5382292 w 5402008"/>
                  <a:gd name="connsiteY267" fmla="*/ 3117628 h 5800534"/>
                  <a:gd name="connsiteX268" fmla="*/ 5402009 w 5402008"/>
                  <a:gd name="connsiteY268" fmla="*/ 3097911 h 5800534"/>
                  <a:gd name="connsiteX269" fmla="*/ 5402009 w 5402008"/>
                  <a:gd name="connsiteY269" fmla="*/ 2920841 h 5800534"/>
                  <a:gd name="connsiteX270" fmla="*/ 5382292 w 5402008"/>
                  <a:gd name="connsiteY270" fmla="*/ 2901125 h 5800534"/>
                  <a:gd name="connsiteX271" fmla="*/ 5382292 w 5402008"/>
                  <a:gd name="connsiteY271" fmla="*/ 2546890 h 5800534"/>
                  <a:gd name="connsiteX272" fmla="*/ 5362575 w 5402008"/>
                  <a:gd name="connsiteY272" fmla="*/ 2566607 h 5800534"/>
                  <a:gd name="connsiteX273" fmla="*/ 5362575 w 5402008"/>
                  <a:gd name="connsiteY273" fmla="*/ 2743772 h 5800534"/>
                  <a:gd name="connsiteX274" fmla="*/ 5382292 w 5402008"/>
                  <a:gd name="connsiteY274" fmla="*/ 2763488 h 5800534"/>
                  <a:gd name="connsiteX275" fmla="*/ 5402009 w 5402008"/>
                  <a:gd name="connsiteY275" fmla="*/ 2743772 h 5800534"/>
                  <a:gd name="connsiteX276" fmla="*/ 5402009 w 5402008"/>
                  <a:gd name="connsiteY276" fmla="*/ 2566607 h 5800534"/>
                  <a:gd name="connsiteX277" fmla="*/ 5382292 w 5402008"/>
                  <a:gd name="connsiteY277" fmla="*/ 2546890 h 5800534"/>
                  <a:gd name="connsiteX278" fmla="*/ 5382292 w 5402008"/>
                  <a:gd name="connsiteY278" fmla="*/ 1129951 h 5800534"/>
                  <a:gd name="connsiteX279" fmla="*/ 5362575 w 5402008"/>
                  <a:gd name="connsiteY279" fmla="*/ 1149668 h 5800534"/>
                  <a:gd name="connsiteX280" fmla="*/ 5362575 w 5402008"/>
                  <a:gd name="connsiteY280" fmla="*/ 1326833 h 5800534"/>
                  <a:gd name="connsiteX281" fmla="*/ 5382292 w 5402008"/>
                  <a:gd name="connsiteY281" fmla="*/ 1346549 h 5800534"/>
                  <a:gd name="connsiteX282" fmla="*/ 5402009 w 5402008"/>
                  <a:gd name="connsiteY282" fmla="*/ 1326833 h 5800534"/>
                  <a:gd name="connsiteX283" fmla="*/ 5402009 w 5402008"/>
                  <a:gd name="connsiteY283" fmla="*/ 1149668 h 5800534"/>
                  <a:gd name="connsiteX284" fmla="*/ 5382292 w 5402008"/>
                  <a:gd name="connsiteY284" fmla="*/ 1129951 h 5800534"/>
                  <a:gd name="connsiteX285" fmla="*/ 5382292 w 5402008"/>
                  <a:gd name="connsiteY285" fmla="*/ 775716 h 5800534"/>
                  <a:gd name="connsiteX286" fmla="*/ 5362575 w 5402008"/>
                  <a:gd name="connsiteY286" fmla="*/ 795433 h 5800534"/>
                  <a:gd name="connsiteX287" fmla="*/ 5362575 w 5402008"/>
                  <a:gd name="connsiteY287" fmla="*/ 972503 h 5800534"/>
                  <a:gd name="connsiteX288" fmla="*/ 5382292 w 5402008"/>
                  <a:gd name="connsiteY288" fmla="*/ 992219 h 5800534"/>
                  <a:gd name="connsiteX289" fmla="*/ 5402009 w 5402008"/>
                  <a:gd name="connsiteY289" fmla="*/ 972503 h 5800534"/>
                  <a:gd name="connsiteX290" fmla="*/ 5402009 w 5402008"/>
                  <a:gd name="connsiteY290" fmla="*/ 795528 h 5800534"/>
                  <a:gd name="connsiteX291" fmla="*/ 5382292 w 5402008"/>
                  <a:gd name="connsiteY291" fmla="*/ 775716 h 5800534"/>
                  <a:gd name="connsiteX292" fmla="*/ 5380387 w 5402008"/>
                  <a:gd name="connsiteY292" fmla="*/ 437960 h 5800534"/>
                  <a:gd name="connsiteX293" fmla="*/ 5356098 w 5402008"/>
                  <a:gd name="connsiteY293" fmla="*/ 424148 h 5800534"/>
                  <a:gd name="connsiteX294" fmla="*/ 5342287 w 5402008"/>
                  <a:gd name="connsiteY294" fmla="*/ 448437 h 5800534"/>
                  <a:gd name="connsiteX295" fmla="*/ 5362480 w 5402008"/>
                  <a:gd name="connsiteY295" fmla="*/ 597789 h 5800534"/>
                  <a:gd name="connsiteX296" fmla="*/ 5362480 w 5402008"/>
                  <a:gd name="connsiteY296" fmla="*/ 618363 h 5800534"/>
                  <a:gd name="connsiteX297" fmla="*/ 5382197 w 5402008"/>
                  <a:gd name="connsiteY297" fmla="*/ 638080 h 5800534"/>
                  <a:gd name="connsiteX298" fmla="*/ 5401914 w 5402008"/>
                  <a:gd name="connsiteY298" fmla="*/ 618363 h 5800534"/>
                  <a:gd name="connsiteX299" fmla="*/ 5401914 w 5402008"/>
                  <a:gd name="connsiteY299" fmla="*/ 597789 h 5800534"/>
                  <a:gd name="connsiteX300" fmla="*/ 5380387 w 5402008"/>
                  <a:gd name="connsiteY300" fmla="*/ 437960 h 5800534"/>
                  <a:gd name="connsiteX301" fmla="*/ 5382292 w 5402008"/>
                  <a:gd name="connsiteY301" fmla="*/ 2192655 h 5800534"/>
                  <a:gd name="connsiteX302" fmla="*/ 5362575 w 5402008"/>
                  <a:gd name="connsiteY302" fmla="*/ 2212372 h 5800534"/>
                  <a:gd name="connsiteX303" fmla="*/ 5362575 w 5402008"/>
                  <a:gd name="connsiteY303" fmla="*/ 2389537 h 5800534"/>
                  <a:gd name="connsiteX304" fmla="*/ 5382292 w 5402008"/>
                  <a:gd name="connsiteY304" fmla="*/ 2409254 h 5800534"/>
                  <a:gd name="connsiteX305" fmla="*/ 5402009 w 5402008"/>
                  <a:gd name="connsiteY305" fmla="*/ 2389537 h 5800534"/>
                  <a:gd name="connsiteX306" fmla="*/ 5402009 w 5402008"/>
                  <a:gd name="connsiteY306" fmla="*/ 2212372 h 5800534"/>
                  <a:gd name="connsiteX307" fmla="*/ 5382292 w 5402008"/>
                  <a:gd name="connsiteY307" fmla="*/ 2192655 h 5800534"/>
                  <a:gd name="connsiteX308" fmla="*/ 5355622 w 5402008"/>
                  <a:gd name="connsiteY308" fmla="*/ 5378101 h 5800534"/>
                  <a:gd name="connsiteX309" fmla="*/ 5330381 w 5402008"/>
                  <a:gd name="connsiteY309" fmla="*/ 5390102 h 5800534"/>
                  <a:gd name="connsiteX310" fmla="*/ 5249323 w 5402008"/>
                  <a:gd name="connsiteY310" fmla="*/ 5539931 h 5800534"/>
                  <a:gd name="connsiteX311" fmla="*/ 5253133 w 5402008"/>
                  <a:gd name="connsiteY311" fmla="*/ 5567649 h 5800534"/>
                  <a:gd name="connsiteX312" fmla="*/ 5265039 w 5402008"/>
                  <a:gd name="connsiteY312" fmla="*/ 5571649 h 5800534"/>
                  <a:gd name="connsiteX313" fmla="*/ 5280755 w 5402008"/>
                  <a:gd name="connsiteY313" fmla="*/ 5563838 h 5800534"/>
                  <a:gd name="connsiteX314" fmla="*/ 5367528 w 5402008"/>
                  <a:gd name="connsiteY314" fmla="*/ 5403342 h 5800534"/>
                  <a:gd name="connsiteX315" fmla="*/ 5355622 w 5402008"/>
                  <a:gd name="connsiteY315" fmla="*/ 5378101 h 5800534"/>
                  <a:gd name="connsiteX316" fmla="*/ 5382292 w 5402008"/>
                  <a:gd name="connsiteY316" fmla="*/ 1838420 h 5800534"/>
                  <a:gd name="connsiteX317" fmla="*/ 5362575 w 5402008"/>
                  <a:gd name="connsiteY317" fmla="*/ 1858137 h 5800534"/>
                  <a:gd name="connsiteX318" fmla="*/ 5362575 w 5402008"/>
                  <a:gd name="connsiteY318" fmla="*/ 2035207 h 5800534"/>
                  <a:gd name="connsiteX319" fmla="*/ 5382292 w 5402008"/>
                  <a:gd name="connsiteY319" fmla="*/ 2054924 h 5800534"/>
                  <a:gd name="connsiteX320" fmla="*/ 5402009 w 5402008"/>
                  <a:gd name="connsiteY320" fmla="*/ 2035207 h 5800534"/>
                  <a:gd name="connsiteX321" fmla="*/ 5402009 w 5402008"/>
                  <a:gd name="connsiteY321" fmla="*/ 1858137 h 5800534"/>
                  <a:gd name="connsiteX322" fmla="*/ 5382292 w 5402008"/>
                  <a:gd name="connsiteY322" fmla="*/ 1838420 h 5800534"/>
                  <a:gd name="connsiteX323" fmla="*/ 5382292 w 5402008"/>
                  <a:gd name="connsiteY323" fmla="*/ 1484186 h 5800534"/>
                  <a:gd name="connsiteX324" fmla="*/ 5362575 w 5402008"/>
                  <a:gd name="connsiteY324" fmla="*/ 1503902 h 5800534"/>
                  <a:gd name="connsiteX325" fmla="*/ 5362575 w 5402008"/>
                  <a:gd name="connsiteY325" fmla="*/ 1681067 h 5800534"/>
                  <a:gd name="connsiteX326" fmla="*/ 5382292 w 5402008"/>
                  <a:gd name="connsiteY326" fmla="*/ 1700784 h 5800534"/>
                  <a:gd name="connsiteX327" fmla="*/ 5402009 w 5402008"/>
                  <a:gd name="connsiteY327" fmla="*/ 1681067 h 5800534"/>
                  <a:gd name="connsiteX328" fmla="*/ 5402009 w 5402008"/>
                  <a:gd name="connsiteY328" fmla="*/ 1503902 h 5800534"/>
                  <a:gd name="connsiteX329" fmla="*/ 5382292 w 5402008"/>
                  <a:gd name="connsiteY329" fmla="*/ 1484186 h 5800534"/>
                  <a:gd name="connsiteX330" fmla="*/ 5382292 w 5402008"/>
                  <a:gd name="connsiteY330" fmla="*/ 3255359 h 5800534"/>
                  <a:gd name="connsiteX331" fmla="*/ 5362575 w 5402008"/>
                  <a:gd name="connsiteY331" fmla="*/ 3275076 h 5800534"/>
                  <a:gd name="connsiteX332" fmla="*/ 5362575 w 5402008"/>
                  <a:gd name="connsiteY332" fmla="*/ 3452241 h 5800534"/>
                  <a:gd name="connsiteX333" fmla="*/ 5382292 w 5402008"/>
                  <a:gd name="connsiteY333" fmla="*/ 3471958 h 5800534"/>
                  <a:gd name="connsiteX334" fmla="*/ 5402009 w 5402008"/>
                  <a:gd name="connsiteY334" fmla="*/ 3452241 h 5800534"/>
                  <a:gd name="connsiteX335" fmla="*/ 5402009 w 5402008"/>
                  <a:gd name="connsiteY335" fmla="*/ 3275076 h 5800534"/>
                  <a:gd name="connsiteX336" fmla="*/ 5382292 w 5402008"/>
                  <a:gd name="connsiteY336" fmla="*/ 3255359 h 5800534"/>
                  <a:gd name="connsiteX337" fmla="*/ 5288756 w 5402008"/>
                  <a:gd name="connsiteY337" fmla="*/ 302228 h 5800534"/>
                  <a:gd name="connsiteX338" fmla="*/ 5299520 w 5402008"/>
                  <a:gd name="connsiteY338" fmla="*/ 298990 h 5800534"/>
                  <a:gd name="connsiteX339" fmla="*/ 5305235 w 5402008"/>
                  <a:gd name="connsiteY339" fmla="*/ 271653 h 5800534"/>
                  <a:gd name="connsiteX340" fmla="*/ 5183505 w 5402008"/>
                  <a:gd name="connsiteY340" fmla="*/ 135827 h 5800534"/>
                  <a:gd name="connsiteX341" fmla="*/ 5155693 w 5402008"/>
                  <a:gd name="connsiteY341" fmla="*/ 138589 h 5800534"/>
                  <a:gd name="connsiteX342" fmla="*/ 5158455 w 5402008"/>
                  <a:gd name="connsiteY342" fmla="*/ 166402 h 5800534"/>
                  <a:gd name="connsiteX343" fmla="*/ 5272088 w 5402008"/>
                  <a:gd name="connsiteY343" fmla="*/ 293370 h 5800534"/>
                  <a:gd name="connsiteX344" fmla="*/ 5288756 w 5402008"/>
                  <a:gd name="connsiteY344" fmla="*/ 302228 h 5800534"/>
                  <a:gd name="connsiteX345" fmla="*/ 3627501 w 5402008"/>
                  <a:gd name="connsiteY345" fmla="*/ 19717 h 5800534"/>
                  <a:gd name="connsiteX346" fmla="*/ 3607784 w 5402008"/>
                  <a:gd name="connsiteY346" fmla="*/ 0 h 5800534"/>
                  <a:gd name="connsiteX347" fmla="*/ 3430715 w 5402008"/>
                  <a:gd name="connsiteY347" fmla="*/ 0 h 5800534"/>
                  <a:gd name="connsiteX348" fmla="*/ 3410998 w 5402008"/>
                  <a:gd name="connsiteY348" fmla="*/ 19717 h 5800534"/>
                  <a:gd name="connsiteX349" fmla="*/ 3430715 w 5402008"/>
                  <a:gd name="connsiteY349" fmla="*/ 39434 h 5800534"/>
                  <a:gd name="connsiteX350" fmla="*/ 3607784 w 5402008"/>
                  <a:gd name="connsiteY350" fmla="*/ 39434 h 5800534"/>
                  <a:gd name="connsiteX351" fmla="*/ 3627501 w 5402008"/>
                  <a:gd name="connsiteY351" fmla="*/ 19717 h 5800534"/>
                  <a:gd name="connsiteX352" fmla="*/ 3981736 w 5402008"/>
                  <a:gd name="connsiteY352" fmla="*/ 19717 h 5800534"/>
                  <a:gd name="connsiteX353" fmla="*/ 3962019 w 5402008"/>
                  <a:gd name="connsiteY353" fmla="*/ 0 h 5800534"/>
                  <a:gd name="connsiteX354" fmla="*/ 3784854 w 5402008"/>
                  <a:gd name="connsiteY354" fmla="*/ 0 h 5800534"/>
                  <a:gd name="connsiteX355" fmla="*/ 3765137 w 5402008"/>
                  <a:gd name="connsiteY355" fmla="*/ 19717 h 5800534"/>
                  <a:gd name="connsiteX356" fmla="*/ 3784854 w 5402008"/>
                  <a:gd name="connsiteY356" fmla="*/ 39434 h 5800534"/>
                  <a:gd name="connsiteX357" fmla="*/ 3962019 w 5402008"/>
                  <a:gd name="connsiteY357" fmla="*/ 39434 h 5800534"/>
                  <a:gd name="connsiteX358" fmla="*/ 3981736 w 5402008"/>
                  <a:gd name="connsiteY358" fmla="*/ 19717 h 5800534"/>
                  <a:gd name="connsiteX359" fmla="*/ 3741420 w 5402008"/>
                  <a:gd name="connsiteY359" fmla="*/ 5761101 h 5800534"/>
                  <a:gd name="connsiteX360" fmla="*/ 3564255 w 5402008"/>
                  <a:gd name="connsiteY360" fmla="*/ 5761101 h 5800534"/>
                  <a:gd name="connsiteX361" fmla="*/ 3544538 w 5402008"/>
                  <a:gd name="connsiteY361" fmla="*/ 5780818 h 5800534"/>
                  <a:gd name="connsiteX362" fmla="*/ 3564255 w 5402008"/>
                  <a:gd name="connsiteY362" fmla="*/ 5800535 h 5800534"/>
                  <a:gd name="connsiteX363" fmla="*/ 3741420 w 5402008"/>
                  <a:gd name="connsiteY363" fmla="*/ 5800535 h 5800534"/>
                  <a:gd name="connsiteX364" fmla="*/ 3761137 w 5402008"/>
                  <a:gd name="connsiteY364" fmla="*/ 5780818 h 5800534"/>
                  <a:gd name="connsiteX365" fmla="*/ 3741420 w 5402008"/>
                  <a:gd name="connsiteY365" fmla="*/ 5761101 h 5800534"/>
                  <a:gd name="connsiteX366" fmla="*/ 3032951 w 5402008"/>
                  <a:gd name="connsiteY366" fmla="*/ 5761101 h 5800534"/>
                  <a:gd name="connsiteX367" fmla="*/ 2855881 w 5402008"/>
                  <a:gd name="connsiteY367" fmla="*/ 5761101 h 5800534"/>
                  <a:gd name="connsiteX368" fmla="*/ 2836164 w 5402008"/>
                  <a:gd name="connsiteY368" fmla="*/ 5780818 h 5800534"/>
                  <a:gd name="connsiteX369" fmla="*/ 2855881 w 5402008"/>
                  <a:gd name="connsiteY369" fmla="*/ 5800535 h 5800534"/>
                  <a:gd name="connsiteX370" fmla="*/ 3032951 w 5402008"/>
                  <a:gd name="connsiteY370" fmla="*/ 5800535 h 5800534"/>
                  <a:gd name="connsiteX371" fmla="*/ 3052667 w 5402008"/>
                  <a:gd name="connsiteY371" fmla="*/ 5780818 h 5800534"/>
                  <a:gd name="connsiteX372" fmla="*/ 3032951 w 5402008"/>
                  <a:gd name="connsiteY372" fmla="*/ 5761101 h 5800534"/>
                  <a:gd name="connsiteX373" fmla="*/ 3387185 w 5402008"/>
                  <a:gd name="connsiteY373" fmla="*/ 5761101 h 5800534"/>
                  <a:gd name="connsiteX374" fmla="*/ 3210116 w 5402008"/>
                  <a:gd name="connsiteY374" fmla="*/ 5761101 h 5800534"/>
                  <a:gd name="connsiteX375" fmla="*/ 3190399 w 5402008"/>
                  <a:gd name="connsiteY375" fmla="*/ 5780818 h 5800534"/>
                  <a:gd name="connsiteX376" fmla="*/ 3210116 w 5402008"/>
                  <a:gd name="connsiteY376" fmla="*/ 5800535 h 5800534"/>
                  <a:gd name="connsiteX377" fmla="*/ 3387185 w 5402008"/>
                  <a:gd name="connsiteY377" fmla="*/ 5800535 h 5800534"/>
                  <a:gd name="connsiteX378" fmla="*/ 3406902 w 5402008"/>
                  <a:gd name="connsiteY378" fmla="*/ 5780818 h 5800534"/>
                  <a:gd name="connsiteX379" fmla="*/ 3387185 w 5402008"/>
                  <a:gd name="connsiteY379" fmla="*/ 5761101 h 5800534"/>
                  <a:gd name="connsiteX380" fmla="*/ 3273266 w 5402008"/>
                  <a:gd name="connsiteY380" fmla="*/ 19717 h 5800534"/>
                  <a:gd name="connsiteX381" fmla="*/ 3253549 w 5402008"/>
                  <a:gd name="connsiteY381" fmla="*/ 0 h 5800534"/>
                  <a:gd name="connsiteX382" fmla="*/ 3076480 w 5402008"/>
                  <a:gd name="connsiteY382" fmla="*/ 0 h 5800534"/>
                  <a:gd name="connsiteX383" fmla="*/ 3056763 w 5402008"/>
                  <a:gd name="connsiteY383" fmla="*/ 19717 h 5800534"/>
                  <a:gd name="connsiteX384" fmla="*/ 3076480 w 5402008"/>
                  <a:gd name="connsiteY384" fmla="*/ 39434 h 5800534"/>
                  <a:gd name="connsiteX385" fmla="*/ 3253549 w 5402008"/>
                  <a:gd name="connsiteY385" fmla="*/ 39434 h 5800534"/>
                  <a:gd name="connsiteX386" fmla="*/ 3273266 w 5402008"/>
                  <a:gd name="connsiteY386" fmla="*/ 19717 h 5800534"/>
                  <a:gd name="connsiteX387" fmla="*/ 4095655 w 5402008"/>
                  <a:gd name="connsiteY387" fmla="*/ 5761101 h 5800534"/>
                  <a:gd name="connsiteX388" fmla="*/ 3918490 w 5402008"/>
                  <a:gd name="connsiteY388" fmla="*/ 5761101 h 5800534"/>
                  <a:gd name="connsiteX389" fmla="*/ 3898773 w 5402008"/>
                  <a:gd name="connsiteY389" fmla="*/ 5780818 h 5800534"/>
                  <a:gd name="connsiteX390" fmla="*/ 3918490 w 5402008"/>
                  <a:gd name="connsiteY390" fmla="*/ 5800535 h 5800534"/>
                  <a:gd name="connsiteX391" fmla="*/ 4095655 w 5402008"/>
                  <a:gd name="connsiteY391" fmla="*/ 5800535 h 5800534"/>
                  <a:gd name="connsiteX392" fmla="*/ 4115372 w 5402008"/>
                  <a:gd name="connsiteY392" fmla="*/ 5780818 h 5800534"/>
                  <a:gd name="connsiteX393" fmla="*/ 4095655 w 5402008"/>
                  <a:gd name="connsiteY393" fmla="*/ 5761101 h 5800534"/>
                  <a:gd name="connsiteX394" fmla="*/ 5019389 w 5402008"/>
                  <a:gd name="connsiteY394" fmla="*/ 80867 h 5800534"/>
                  <a:gd name="connsiteX395" fmla="*/ 5037773 w 5402008"/>
                  <a:gd name="connsiteY395" fmla="*/ 68485 h 5800534"/>
                  <a:gd name="connsiteX396" fmla="*/ 5026819 w 5402008"/>
                  <a:gd name="connsiteY396" fmla="*/ 42767 h 5800534"/>
                  <a:gd name="connsiteX397" fmla="*/ 4849082 w 5402008"/>
                  <a:gd name="connsiteY397" fmla="*/ 1619 h 5800534"/>
                  <a:gd name="connsiteX398" fmla="*/ 4827937 w 5402008"/>
                  <a:gd name="connsiteY398" fmla="*/ 19907 h 5800534"/>
                  <a:gd name="connsiteX399" fmla="*/ 4846225 w 5402008"/>
                  <a:gd name="connsiteY399" fmla="*/ 41053 h 5800534"/>
                  <a:gd name="connsiteX400" fmla="*/ 5012151 w 5402008"/>
                  <a:gd name="connsiteY400" fmla="*/ 79439 h 5800534"/>
                  <a:gd name="connsiteX401" fmla="*/ 5019389 w 5402008"/>
                  <a:gd name="connsiteY401" fmla="*/ 80867 h 5800534"/>
                  <a:gd name="connsiteX402" fmla="*/ 4806410 w 5402008"/>
                  <a:gd name="connsiteY402" fmla="*/ 5761101 h 5800534"/>
                  <a:gd name="connsiteX403" fmla="*/ 4627055 w 5402008"/>
                  <a:gd name="connsiteY403" fmla="*/ 5761101 h 5800534"/>
                  <a:gd name="connsiteX404" fmla="*/ 4607338 w 5402008"/>
                  <a:gd name="connsiteY404" fmla="*/ 5780818 h 5800534"/>
                  <a:gd name="connsiteX405" fmla="*/ 4627055 w 5402008"/>
                  <a:gd name="connsiteY405" fmla="*/ 5800535 h 5800534"/>
                  <a:gd name="connsiteX406" fmla="*/ 4804410 w 5402008"/>
                  <a:gd name="connsiteY406" fmla="*/ 5800535 h 5800534"/>
                  <a:gd name="connsiteX407" fmla="*/ 4806315 w 5402008"/>
                  <a:gd name="connsiteY407" fmla="*/ 5800535 h 5800534"/>
                  <a:gd name="connsiteX408" fmla="*/ 4826032 w 5402008"/>
                  <a:gd name="connsiteY408" fmla="*/ 5780818 h 5800534"/>
                  <a:gd name="connsiteX409" fmla="*/ 4806410 w 5402008"/>
                  <a:gd name="connsiteY409" fmla="*/ 5761101 h 5800534"/>
                  <a:gd name="connsiteX410" fmla="*/ 4335971 w 5402008"/>
                  <a:gd name="connsiteY410" fmla="*/ 19717 h 5800534"/>
                  <a:gd name="connsiteX411" fmla="*/ 4316254 w 5402008"/>
                  <a:gd name="connsiteY411" fmla="*/ 0 h 5800534"/>
                  <a:gd name="connsiteX412" fmla="*/ 4139184 w 5402008"/>
                  <a:gd name="connsiteY412" fmla="*/ 0 h 5800534"/>
                  <a:gd name="connsiteX413" fmla="*/ 4119467 w 5402008"/>
                  <a:gd name="connsiteY413" fmla="*/ 19717 h 5800534"/>
                  <a:gd name="connsiteX414" fmla="*/ 4139184 w 5402008"/>
                  <a:gd name="connsiteY414" fmla="*/ 39434 h 5800534"/>
                  <a:gd name="connsiteX415" fmla="*/ 4316254 w 5402008"/>
                  <a:gd name="connsiteY415" fmla="*/ 39434 h 5800534"/>
                  <a:gd name="connsiteX416" fmla="*/ 4335971 w 5402008"/>
                  <a:gd name="connsiteY416" fmla="*/ 19717 h 5800534"/>
                  <a:gd name="connsiteX417" fmla="*/ 5126927 w 5402008"/>
                  <a:gd name="connsiteY417" fmla="*/ 5658422 h 5800534"/>
                  <a:gd name="connsiteX418" fmla="*/ 4974622 w 5402008"/>
                  <a:gd name="connsiteY418" fmla="*/ 5734622 h 5800534"/>
                  <a:gd name="connsiteX419" fmla="*/ 4961858 w 5402008"/>
                  <a:gd name="connsiteY419" fmla="*/ 5759482 h 5800534"/>
                  <a:gd name="connsiteX420" fmla="*/ 4980718 w 5402008"/>
                  <a:gd name="connsiteY420" fmla="*/ 5773198 h 5800534"/>
                  <a:gd name="connsiteX421" fmla="*/ 4986719 w 5402008"/>
                  <a:gd name="connsiteY421" fmla="*/ 5772245 h 5800534"/>
                  <a:gd name="connsiteX422" fmla="*/ 5149882 w 5402008"/>
                  <a:gd name="connsiteY422" fmla="*/ 5690616 h 5800534"/>
                  <a:gd name="connsiteX423" fmla="*/ 5154549 w 5402008"/>
                  <a:gd name="connsiteY423" fmla="*/ 5663089 h 5800534"/>
                  <a:gd name="connsiteX424" fmla="*/ 5126927 w 5402008"/>
                  <a:gd name="connsiteY424" fmla="*/ 5658422 h 5800534"/>
                  <a:gd name="connsiteX425" fmla="*/ 4690206 w 5402008"/>
                  <a:gd name="connsiteY425" fmla="*/ 19717 h 5800534"/>
                  <a:gd name="connsiteX426" fmla="*/ 4670489 w 5402008"/>
                  <a:gd name="connsiteY426" fmla="*/ 0 h 5800534"/>
                  <a:gd name="connsiteX427" fmla="*/ 4493419 w 5402008"/>
                  <a:gd name="connsiteY427" fmla="*/ 0 h 5800534"/>
                  <a:gd name="connsiteX428" fmla="*/ 4473702 w 5402008"/>
                  <a:gd name="connsiteY428" fmla="*/ 19717 h 5800534"/>
                  <a:gd name="connsiteX429" fmla="*/ 4493419 w 5402008"/>
                  <a:gd name="connsiteY429" fmla="*/ 39434 h 5800534"/>
                  <a:gd name="connsiteX430" fmla="*/ 4670489 w 5402008"/>
                  <a:gd name="connsiteY430" fmla="*/ 39434 h 5800534"/>
                  <a:gd name="connsiteX431" fmla="*/ 4690206 w 5402008"/>
                  <a:gd name="connsiteY431" fmla="*/ 19717 h 5800534"/>
                  <a:gd name="connsiteX432" fmla="*/ 4449890 w 5402008"/>
                  <a:gd name="connsiteY432" fmla="*/ 5761101 h 5800534"/>
                  <a:gd name="connsiteX433" fmla="*/ 4272820 w 5402008"/>
                  <a:gd name="connsiteY433" fmla="*/ 5761101 h 5800534"/>
                  <a:gd name="connsiteX434" fmla="*/ 4253103 w 5402008"/>
                  <a:gd name="connsiteY434" fmla="*/ 5780818 h 5800534"/>
                  <a:gd name="connsiteX435" fmla="*/ 4272820 w 5402008"/>
                  <a:gd name="connsiteY435" fmla="*/ 5800535 h 5800534"/>
                  <a:gd name="connsiteX436" fmla="*/ 4449890 w 5402008"/>
                  <a:gd name="connsiteY436" fmla="*/ 5800535 h 5800534"/>
                  <a:gd name="connsiteX437" fmla="*/ 4469606 w 5402008"/>
                  <a:gd name="connsiteY437" fmla="*/ 5780818 h 5800534"/>
                  <a:gd name="connsiteX438" fmla="*/ 4449890 w 5402008"/>
                  <a:gd name="connsiteY438" fmla="*/ 5761101 h 58005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</a:cxnLst>
                <a:rect l="l" t="t" r="r" b="b"/>
                <a:pathLst>
                  <a:path w="5402008" h="5800534">
                    <a:moveTo>
                      <a:pt x="1147858" y="19717"/>
                    </a:moveTo>
                    <a:cubicBezTo>
                      <a:pt x="1147858" y="8763"/>
                      <a:pt x="1139000" y="0"/>
                      <a:pt x="1128141" y="0"/>
                    </a:cubicBezTo>
                    <a:lnTo>
                      <a:pt x="950976" y="0"/>
                    </a:lnTo>
                    <a:cubicBezTo>
                      <a:pt x="940022" y="0"/>
                      <a:pt x="931259" y="8858"/>
                      <a:pt x="931259" y="19717"/>
                    </a:cubicBezTo>
                    <a:cubicBezTo>
                      <a:pt x="931259" y="30670"/>
                      <a:pt x="940118" y="39434"/>
                      <a:pt x="950976" y="39434"/>
                    </a:cubicBezTo>
                    <a:lnTo>
                      <a:pt x="1128141" y="39434"/>
                    </a:lnTo>
                    <a:cubicBezTo>
                      <a:pt x="1139000" y="39434"/>
                      <a:pt x="1147858" y="30670"/>
                      <a:pt x="1147858" y="19717"/>
                    </a:cubicBezTo>
                    <a:close/>
                    <a:moveTo>
                      <a:pt x="1261872" y="5761101"/>
                    </a:moveTo>
                    <a:lnTo>
                      <a:pt x="1084707" y="5761101"/>
                    </a:lnTo>
                    <a:cubicBezTo>
                      <a:pt x="1073753" y="5761101"/>
                      <a:pt x="1064990" y="5769959"/>
                      <a:pt x="1064990" y="5780818"/>
                    </a:cubicBezTo>
                    <a:cubicBezTo>
                      <a:pt x="1064990" y="5791772"/>
                      <a:pt x="1073849" y="5800535"/>
                      <a:pt x="1084707" y="5800535"/>
                    </a:cubicBezTo>
                    <a:lnTo>
                      <a:pt x="1261872" y="5800535"/>
                    </a:lnTo>
                    <a:cubicBezTo>
                      <a:pt x="1272826" y="5800535"/>
                      <a:pt x="1281589" y="5791677"/>
                      <a:pt x="1281589" y="5780818"/>
                    </a:cubicBezTo>
                    <a:cubicBezTo>
                      <a:pt x="1281589" y="5769959"/>
                      <a:pt x="1272731" y="5761101"/>
                      <a:pt x="1261872" y="5761101"/>
                    </a:cubicBezTo>
                    <a:close/>
                    <a:moveTo>
                      <a:pt x="907637" y="5761101"/>
                    </a:moveTo>
                    <a:lnTo>
                      <a:pt x="730472" y="5761101"/>
                    </a:lnTo>
                    <a:cubicBezTo>
                      <a:pt x="719519" y="5761101"/>
                      <a:pt x="710756" y="5769959"/>
                      <a:pt x="710756" y="5780818"/>
                    </a:cubicBezTo>
                    <a:cubicBezTo>
                      <a:pt x="710756" y="5791772"/>
                      <a:pt x="719614" y="5800535"/>
                      <a:pt x="730472" y="5800535"/>
                    </a:cubicBezTo>
                    <a:lnTo>
                      <a:pt x="907637" y="5800535"/>
                    </a:lnTo>
                    <a:cubicBezTo>
                      <a:pt x="918591" y="5800535"/>
                      <a:pt x="927354" y="5791677"/>
                      <a:pt x="927354" y="5780818"/>
                    </a:cubicBezTo>
                    <a:cubicBezTo>
                      <a:pt x="927354" y="5769959"/>
                      <a:pt x="918496" y="5761101"/>
                      <a:pt x="907637" y="5761101"/>
                    </a:cubicBezTo>
                    <a:close/>
                    <a:moveTo>
                      <a:pt x="441293" y="40767"/>
                    </a:moveTo>
                    <a:cubicBezTo>
                      <a:pt x="437960" y="30385"/>
                      <a:pt x="426911" y="24575"/>
                      <a:pt x="416433" y="27908"/>
                    </a:cubicBezTo>
                    <a:cubicBezTo>
                      <a:pt x="358140" y="46482"/>
                      <a:pt x="303181" y="73819"/>
                      <a:pt x="253079" y="109157"/>
                    </a:cubicBezTo>
                    <a:cubicBezTo>
                      <a:pt x="244126" y="115443"/>
                      <a:pt x="242030" y="127826"/>
                      <a:pt x="248317" y="136684"/>
                    </a:cubicBezTo>
                    <a:cubicBezTo>
                      <a:pt x="252127" y="142113"/>
                      <a:pt x="258318" y="145066"/>
                      <a:pt x="264509" y="145066"/>
                    </a:cubicBezTo>
                    <a:cubicBezTo>
                      <a:pt x="268415" y="145066"/>
                      <a:pt x="272415" y="143923"/>
                      <a:pt x="275939" y="141446"/>
                    </a:cubicBezTo>
                    <a:cubicBezTo>
                      <a:pt x="322707" y="108395"/>
                      <a:pt x="374047" y="82868"/>
                      <a:pt x="428435" y="65532"/>
                    </a:cubicBezTo>
                    <a:cubicBezTo>
                      <a:pt x="438912" y="62294"/>
                      <a:pt x="444627" y="51149"/>
                      <a:pt x="441293" y="40767"/>
                    </a:cubicBezTo>
                    <a:close/>
                    <a:moveTo>
                      <a:pt x="2678716" y="5761101"/>
                    </a:moveTo>
                    <a:lnTo>
                      <a:pt x="2501551" y="5761101"/>
                    </a:lnTo>
                    <a:cubicBezTo>
                      <a:pt x="2490597" y="5761101"/>
                      <a:pt x="2481834" y="5769959"/>
                      <a:pt x="2481834" y="5780818"/>
                    </a:cubicBezTo>
                    <a:cubicBezTo>
                      <a:pt x="2481834" y="5791772"/>
                      <a:pt x="2490692" y="5800535"/>
                      <a:pt x="2501551" y="5800535"/>
                    </a:cubicBezTo>
                    <a:lnTo>
                      <a:pt x="2678716" y="5800535"/>
                    </a:lnTo>
                    <a:cubicBezTo>
                      <a:pt x="2689670" y="5800535"/>
                      <a:pt x="2698433" y="5791677"/>
                      <a:pt x="2698433" y="5780818"/>
                    </a:cubicBezTo>
                    <a:cubicBezTo>
                      <a:pt x="2698528" y="5769959"/>
                      <a:pt x="2689670" y="5761101"/>
                      <a:pt x="2678716" y="5761101"/>
                    </a:cubicBezTo>
                    <a:close/>
                    <a:moveTo>
                      <a:pt x="793623" y="19717"/>
                    </a:moveTo>
                    <a:cubicBezTo>
                      <a:pt x="793623" y="8763"/>
                      <a:pt x="784765" y="0"/>
                      <a:pt x="773906" y="0"/>
                    </a:cubicBezTo>
                    <a:lnTo>
                      <a:pt x="596741" y="0"/>
                    </a:lnTo>
                    <a:cubicBezTo>
                      <a:pt x="585788" y="0"/>
                      <a:pt x="577025" y="8858"/>
                      <a:pt x="577025" y="19717"/>
                    </a:cubicBezTo>
                    <a:cubicBezTo>
                      <a:pt x="577025" y="30670"/>
                      <a:pt x="585883" y="39434"/>
                      <a:pt x="596741" y="39434"/>
                    </a:cubicBezTo>
                    <a:lnTo>
                      <a:pt x="773906" y="39434"/>
                    </a:lnTo>
                    <a:cubicBezTo>
                      <a:pt x="784765" y="39434"/>
                      <a:pt x="793623" y="30670"/>
                      <a:pt x="793623" y="19717"/>
                    </a:cubicBezTo>
                    <a:close/>
                    <a:moveTo>
                      <a:pt x="1502093" y="19717"/>
                    </a:moveTo>
                    <a:cubicBezTo>
                      <a:pt x="1502093" y="8763"/>
                      <a:pt x="1493234" y="0"/>
                      <a:pt x="1482376" y="0"/>
                    </a:cubicBezTo>
                    <a:lnTo>
                      <a:pt x="1305306" y="0"/>
                    </a:lnTo>
                    <a:cubicBezTo>
                      <a:pt x="1294352" y="0"/>
                      <a:pt x="1285589" y="8858"/>
                      <a:pt x="1285589" y="19717"/>
                    </a:cubicBezTo>
                    <a:cubicBezTo>
                      <a:pt x="1285589" y="30670"/>
                      <a:pt x="1294448" y="39434"/>
                      <a:pt x="1305306" y="39434"/>
                    </a:cubicBezTo>
                    <a:lnTo>
                      <a:pt x="1482376" y="39434"/>
                    </a:lnTo>
                    <a:cubicBezTo>
                      <a:pt x="1493234" y="39434"/>
                      <a:pt x="1502093" y="30670"/>
                      <a:pt x="1502093" y="19717"/>
                    </a:cubicBezTo>
                    <a:close/>
                    <a:moveTo>
                      <a:pt x="2324481" y="5761101"/>
                    </a:moveTo>
                    <a:lnTo>
                      <a:pt x="2147316" y="5761101"/>
                    </a:lnTo>
                    <a:cubicBezTo>
                      <a:pt x="2136362" y="5761101"/>
                      <a:pt x="2127599" y="5769959"/>
                      <a:pt x="2127599" y="5780818"/>
                    </a:cubicBezTo>
                    <a:cubicBezTo>
                      <a:pt x="2127599" y="5791772"/>
                      <a:pt x="2136458" y="5800535"/>
                      <a:pt x="2147316" y="5800535"/>
                    </a:cubicBezTo>
                    <a:lnTo>
                      <a:pt x="2324481" y="5800535"/>
                    </a:lnTo>
                    <a:cubicBezTo>
                      <a:pt x="2335435" y="5800535"/>
                      <a:pt x="2344198" y="5791677"/>
                      <a:pt x="2344198" y="5780818"/>
                    </a:cubicBezTo>
                    <a:cubicBezTo>
                      <a:pt x="2344293" y="5769959"/>
                      <a:pt x="2335435" y="5761101"/>
                      <a:pt x="2324481" y="5761101"/>
                    </a:cubicBezTo>
                    <a:close/>
                    <a:moveTo>
                      <a:pt x="2564797" y="19717"/>
                    </a:moveTo>
                    <a:cubicBezTo>
                      <a:pt x="2564797" y="8763"/>
                      <a:pt x="2555939" y="0"/>
                      <a:pt x="2545080" y="0"/>
                    </a:cubicBezTo>
                    <a:lnTo>
                      <a:pt x="2367915" y="0"/>
                    </a:lnTo>
                    <a:cubicBezTo>
                      <a:pt x="2356961" y="0"/>
                      <a:pt x="2348198" y="8858"/>
                      <a:pt x="2348198" y="19717"/>
                    </a:cubicBezTo>
                    <a:cubicBezTo>
                      <a:pt x="2348198" y="30670"/>
                      <a:pt x="2357057" y="39434"/>
                      <a:pt x="2367915" y="39434"/>
                    </a:cubicBezTo>
                    <a:lnTo>
                      <a:pt x="2545080" y="39434"/>
                    </a:lnTo>
                    <a:cubicBezTo>
                      <a:pt x="2555939" y="39434"/>
                      <a:pt x="2564797" y="30670"/>
                      <a:pt x="2564797" y="19717"/>
                    </a:cubicBezTo>
                    <a:close/>
                    <a:moveTo>
                      <a:pt x="129254" y="5506403"/>
                    </a:moveTo>
                    <a:cubicBezTo>
                      <a:pt x="123349" y="5497259"/>
                      <a:pt x="111062" y="5494687"/>
                      <a:pt x="101918" y="5500592"/>
                    </a:cubicBezTo>
                    <a:cubicBezTo>
                      <a:pt x="92774" y="5506498"/>
                      <a:pt x="90202" y="5518785"/>
                      <a:pt x="96107" y="5527930"/>
                    </a:cubicBezTo>
                    <a:cubicBezTo>
                      <a:pt x="129445" y="5579269"/>
                      <a:pt x="170307" y="5624989"/>
                      <a:pt x="217551" y="5664042"/>
                    </a:cubicBezTo>
                    <a:cubicBezTo>
                      <a:pt x="221266" y="5667090"/>
                      <a:pt x="225647" y="5668613"/>
                      <a:pt x="230124" y="5668613"/>
                    </a:cubicBezTo>
                    <a:cubicBezTo>
                      <a:pt x="235839" y="5668613"/>
                      <a:pt x="241459" y="5666137"/>
                      <a:pt x="245364" y="5661470"/>
                    </a:cubicBezTo>
                    <a:cubicBezTo>
                      <a:pt x="252317" y="5653088"/>
                      <a:pt x="251079" y="5640610"/>
                      <a:pt x="242697" y="5633657"/>
                    </a:cubicBezTo>
                    <a:cubicBezTo>
                      <a:pt x="198501" y="5597176"/>
                      <a:pt x="160401" y="5554409"/>
                      <a:pt x="129254" y="5506403"/>
                    </a:cubicBezTo>
                    <a:close/>
                    <a:moveTo>
                      <a:pt x="2210562" y="19717"/>
                    </a:moveTo>
                    <a:cubicBezTo>
                      <a:pt x="2210562" y="8763"/>
                      <a:pt x="2201704" y="0"/>
                      <a:pt x="2190845" y="0"/>
                    </a:cubicBezTo>
                    <a:lnTo>
                      <a:pt x="2013776" y="0"/>
                    </a:lnTo>
                    <a:cubicBezTo>
                      <a:pt x="2002822" y="0"/>
                      <a:pt x="1994059" y="8858"/>
                      <a:pt x="1994059" y="19717"/>
                    </a:cubicBezTo>
                    <a:cubicBezTo>
                      <a:pt x="1994059" y="30670"/>
                      <a:pt x="2002917" y="39434"/>
                      <a:pt x="2013776" y="39434"/>
                    </a:cubicBezTo>
                    <a:lnTo>
                      <a:pt x="2190845" y="39434"/>
                    </a:lnTo>
                    <a:cubicBezTo>
                      <a:pt x="2201704" y="39434"/>
                      <a:pt x="2210562" y="30670"/>
                      <a:pt x="2210562" y="19717"/>
                    </a:cubicBezTo>
                    <a:close/>
                    <a:moveTo>
                      <a:pt x="1970246" y="5761101"/>
                    </a:moveTo>
                    <a:lnTo>
                      <a:pt x="1793177" y="5761101"/>
                    </a:lnTo>
                    <a:cubicBezTo>
                      <a:pt x="1782223" y="5761101"/>
                      <a:pt x="1773460" y="5769959"/>
                      <a:pt x="1773460" y="5780818"/>
                    </a:cubicBezTo>
                    <a:cubicBezTo>
                      <a:pt x="1773460" y="5791772"/>
                      <a:pt x="1782318" y="5800535"/>
                      <a:pt x="1793177" y="5800535"/>
                    </a:cubicBezTo>
                    <a:lnTo>
                      <a:pt x="1970246" y="5800535"/>
                    </a:lnTo>
                    <a:cubicBezTo>
                      <a:pt x="1981200" y="5800535"/>
                      <a:pt x="1989963" y="5791677"/>
                      <a:pt x="1989963" y="5780818"/>
                    </a:cubicBezTo>
                    <a:cubicBezTo>
                      <a:pt x="1990058" y="5769959"/>
                      <a:pt x="1981200" y="5761101"/>
                      <a:pt x="1970246" y="5761101"/>
                    </a:cubicBezTo>
                    <a:close/>
                    <a:moveTo>
                      <a:pt x="1616012" y="5761101"/>
                    </a:moveTo>
                    <a:lnTo>
                      <a:pt x="1438942" y="5761101"/>
                    </a:lnTo>
                    <a:cubicBezTo>
                      <a:pt x="1427988" y="5761101"/>
                      <a:pt x="1419225" y="5769959"/>
                      <a:pt x="1419225" y="5780818"/>
                    </a:cubicBezTo>
                    <a:cubicBezTo>
                      <a:pt x="1419225" y="5791772"/>
                      <a:pt x="1428083" y="5800535"/>
                      <a:pt x="1438942" y="5800535"/>
                    </a:cubicBezTo>
                    <a:lnTo>
                      <a:pt x="1616012" y="5800535"/>
                    </a:lnTo>
                    <a:cubicBezTo>
                      <a:pt x="1626965" y="5800535"/>
                      <a:pt x="1635728" y="5791677"/>
                      <a:pt x="1635728" y="5780818"/>
                    </a:cubicBezTo>
                    <a:cubicBezTo>
                      <a:pt x="1635824" y="5769959"/>
                      <a:pt x="1626965" y="5761101"/>
                      <a:pt x="1616012" y="5761101"/>
                    </a:cubicBezTo>
                    <a:close/>
                    <a:moveTo>
                      <a:pt x="1856327" y="19717"/>
                    </a:moveTo>
                    <a:cubicBezTo>
                      <a:pt x="1856327" y="8763"/>
                      <a:pt x="1847469" y="0"/>
                      <a:pt x="1836611" y="0"/>
                    </a:cubicBezTo>
                    <a:lnTo>
                      <a:pt x="1659541" y="0"/>
                    </a:lnTo>
                    <a:cubicBezTo>
                      <a:pt x="1648587" y="0"/>
                      <a:pt x="1639824" y="8858"/>
                      <a:pt x="1639824" y="19717"/>
                    </a:cubicBezTo>
                    <a:cubicBezTo>
                      <a:pt x="1639824" y="30670"/>
                      <a:pt x="1648682" y="39434"/>
                      <a:pt x="1659541" y="39434"/>
                    </a:cubicBezTo>
                    <a:lnTo>
                      <a:pt x="1836611" y="39434"/>
                    </a:lnTo>
                    <a:cubicBezTo>
                      <a:pt x="1847469" y="39434"/>
                      <a:pt x="1856327" y="30670"/>
                      <a:pt x="1856327" y="19717"/>
                    </a:cubicBezTo>
                    <a:close/>
                    <a:moveTo>
                      <a:pt x="554927" y="5759482"/>
                    </a:moveTo>
                    <a:cubicBezTo>
                      <a:pt x="497776" y="5755101"/>
                      <a:pt x="441960" y="5742147"/>
                      <a:pt x="389096" y="5720715"/>
                    </a:cubicBezTo>
                    <a:cubicBezTo>
                      <a:pt x="379000" y="5716620"/>
                      <a:pt x="367475" y="5721572"/>
                      <a:pt x="363379" y="5731669"/>
                    </a:cubicBezTo>
                    <a:cubicBezTo>
                      <a:pt x="359283" y="5741765"/>
                      <a:pt x="364141" y="5753291"/>
                      <a:pt x="374333" y="5757386"/>
                    </a:cubicBezTo>
                    <a:cubicBezTo>
                      <a:pt x="431006" y="5780247"/>
                      <a:pt x="490728" y="5794248"/>
                      <a:pt x="551974" y="5798915"/>
                    </a:cubicBezTo>
                    <a:cubicBezTo>
                      <a:pt x="552450" y="5798915"/>
                      <a:pt x="553022" y="5799011"/>
                      <a:pt x="553498" y="5799011"/>
                    </a:cubicBezTo>
                    <a:cubicBezTo>
                      <a:pt x="563690" y="5799011"/>
                      <a:pt x="572357" y="5791105"/>
                      <a:pt x="573215" y="5780723"/>
                    </a:cubicBezTo>
                    <a:cubicBezTo>
                      <a:pt x="573977" y="5769769"/>
                      <a:pt x="565785" y="5760339"/>
                      <a:pt x="554927" y="5759482"/>
                    </a:cubicBezTo>
                    <a:close/>
                    <a:moveTo>
                      <a:pt x="19717" y="2189893"/>
                    </a:moveTo>
                    <a:cubicBezTo>
                      <a:pt x="30671" y="2189893"/>
                      <a:pt x="39434" y="2181035"/>
                      <a:pt x="39434" y="2170176"/>
                    </a:cubicBezTo>
                    <a:lnTo>
                      <a:pt x="39434" y="1993011"/>
                    </a:lnTo>
                    <a:cubicBezTo>
                      <a:pt x="39434" y="1982057"/>
                      <a:pt x="30575" y="1973294"/>
                      <a:pt x="19717" y="1973294"/>
                    </a:cubicBezTo>
                    <a:cubicBezTo>
                      <a:pt x="8763" y="1973294"/>
                      <a:pt x="0" y="1982153"/>
                      <a:pt x="0" y="1993011"/>
                    </a:cubicBezTo>
                    <a:lnTo>
                      <a:pt x="0" y="2170176"/>
                    </a:lnTo>
                    <a:cubicBezTo>
                      <a:pt x="0" y="2181035"/>
                      <a:pt x="8858" y="2189893"/>
                      <a:pt x="19717" y="2189893"/>
                    </a:cubicBezTo>
                    <a:close/>
                    <a:moveTo>
                      <a:pt x="19717" y="2544127"/>
                    </a:moveTo>
                    <a:cubicBezTo>
                      <a:pt x="30671" y="2544127"/>
                      <a:pt x="39434" y="2535269"/>
                      <a:pt x="39434" y="2524411"/>
                    </a:cubicBezTo>
                    <a:lnTo>
                      <a:pt x="39434" y="2347341"/>
                    </a:lnTo>
                    <a:cubicBezTo>
                      <a:pt x="39434" y="2336387"/>
                      <a:pt x="30575" y="2327624"/>
                      <a:pt x="19717" y="2327624"/>
                    </a:cubicBezTo>
                    <a:cubicBezTo>
                      <a:pt x="8763" y="2327624"/>
                      <a:pt x="0" y="2336483"/>
                      <a:pt x="0" y="2347341"/>
                    </a:cubicBezTo>
                    <a:lnTo>
                      <a:pt x="0" y="2524411"/>
                    </a:lnTo>
                    <a:cubicBezTo>
                      <a:pt x="0" y="2535269"/>
                      <a:pt x="8858" y="2544127"/>
                      <a:pt x="19717" y="2544127"/>
                    </a:cubicBezTo>
                    <a:close/>
                    <a:moveTo>
                      <a:pt x="19717" y="1835658"/>
                    </a:moveTo>
                    <a:cubicBezTo>
                      <a:pt x="30671" y="1835658"/>
                      <a:pt x="39434" y="1826800"/>
                      <a:pt x="39434" y="1815941"/>
                    </a:cubicBezTo>
                    <a:lnTo>
                      <a:pt x="39434" y="1638776"/>
                    </a:lnTo>
                    <a:cubicBezTo>
                      <a:pt x="39434" y="1627823"/>
                      <a:pt x="30575" y="1619060"/>
                      <a:pt x="19717" y="1619060"/>
                    </a:cubicBezTo>
                    <a:cubicBezTo>
                      <a:pt x="8763" y="1619060"/>
                      <a:pt x="0" y="1627918"/>
                      <a:pt x="0" y="1638776"/>
                    </a:cubicBezTo>
                    <a:lnTo>
                      <a:pt x="0" y="1815941"/>
                    </a:lnTo>
                    <a:cubicBezTo>
                      <a:pt x="0" y="1826800"/>
                      <a:pt x="8858" y="1835658"/>
                      <a:pt x="19717" y="1835658"/>
                    </a:cubicBezTo>
                    <a:close/>
                    <a:moveTo>
                      <a:pt x="19717" y="772954"/>
                    </a:moveTo>
                    <a:cubicBezTo>
                      <a:pt x="30671" y="772954"/>
                      <a:pt x="39434" y="764096"/>
                      <a:pt x="39434" y="753237"/>
                    </a:cubicBezTo>
                    <a:lnTo>
                      <a:pt x="39434" y="597789"/>
                    </a:lnTo>
                    <a:cubicBezTo>
                      <a:pt x="39434" y="590741"/>
                      <a:pt x="39529" y="583787"/>
                      <a:pt x="39815" y="576739"/>
                    </a:cubicBezTo>
                    <a:cubicBezTo>
                      <a:pt x="40195" y="565880"/>
                      <a:pt x="31718" y="556641"/>
                      <a:pt x="20765" y="556260"/>
                    </a:cubicBezTo>
                    <a:cubicBezTo>
                      <a:pt x="10001" y="555879"/>
                      <a:pt x="667" y="564356"/>
                      <a:pt x="286" y="575310"/>
                    </a:cubicBezTo>
                    <a:cubicBezTo>
                      <a:pt x="95" y="582835"/>
                      <a:pt x="0" y="590264"/>
                      <a:pt x="0" y="597789"/>
                    </a:cubicBezTo>
                    <a:lnTo>
                      <a:pt x="0" y="753142"/>
                    </a:lnTo>
                    <a:cubicBezTo>
                      <a:pt x="0" y="764096"/>
                      <a:pt x="8858" y="772954"/>
                      <a:pt x="19717" y="772954"/>
                    </a:cubicBezTo>
                    <a:close/>
                    <a:moveTo>
                      <a:pt x="19717" y="1481423"/>
                    </a:moveTo>
                    <a:cubicBezTo>
                      <a:pt x="30671" y="1481423"/>
                      <a:pt x="39434" y="1472565"/>
                      <a:pt x="39434" y="1461707"/>
                    </a:cubicBezTo>
                    <a:lnTo>
                      <a:pt x="39434" y="1284637"/>
                    </a:lnTo>
                    <a:cubicBezTo>
                      <a:pt x="39434" y="1273683"/>
                      <a:pt x="30575" y="1264920"/>
                      <a:pt x="19717" y="1264920"/>
                    </a:cubicBezTo>
                    <a:cubicBezTo>
                      <a:pt x="8763" y="1264920"/>
                      <a:pt x="0" y="1273778"/>
                      <a:pt x="0" y="1284637"/>
                    </a:cubicBezTo>
                    <a:lnTo>
                      <a:pt x="0" y="1461707"/>
                    </a:lnTo>
                    <a:cubicBezTo>
                      <a:pt x="0" y="1472565"/>
                      <a:pt x="8858" y="1481423"/>
                      <a:pt x="19717" y="1481423"/>
                    </a:cubicBezTo>
                    <a:close/>
                    <a:moveTo>
                      <a:pt x="19717" y="2898362"/>
                    </a:moveTo>
                    <a:cubicBezTo>
                      <a:pt x="30671" y="2898362"/>
                      <a:pt x="39434" y="2889504"/>
                      <a:pt x="39434" y="2878646"/>
                    </a:cubicBezTo>
                    <a:lnTo>
                      <a:pt x="39434" y="2701481"/>
                    </a:lnTo>
                    <a:cubicBezTo>
                      <a:pt x="39434" y="2690527"/>
                      <a:pt x="30575" y="2681764"/>
                      <a:pt x="19717" y="2681764"/>
                    </a:cubicBezTo>
                    <a:cubicBezTo>
                      <a:pt x="8763" y="2681764"/>
                      <a:pt x="0" y="2690622"/>
                      <a:pt x="0" y="2701481"/>
                    </a:cubicBezTo>
                    <a:lnTo>
                      <a:pt x="0" y="2878646"/>
                    </a:lnTo>
                    <a:cubicBezTo>
                      <a:pt x="0" y="2889504"/>
                      <a:pt x="8858" y="2898362"/>
                      <a:pt x="19717" y="2898362"/>
                    </a:cubicBezTo>
                    <a:close/>
                    <a:moveTo>
                      <a:pt x="19717" y="1127189"/>
                    </a:moveTo>
                    <a:cubicBezTo>
                      <a:pt x="30671" y="1127189"/>
                      <a:pt x="39434" y="1118330"/>
                      <a:pt x="39434" y="1107472"/>
                    </a:cubicBezTo>
                    <a:lnTo>
                      <a:pt x="39434" y="930307"/>
                    </a:lnTo>
                    <a:cubicBezTo>
                      <a:pt x="39434" y="919353"/>
                      <a:pt x="30575" y="910590"/>
                      <a:pt x="19717" y="910590"/>
                    </a:cubicBezTo>
                    <a:cubicBezTo>
                      <a:pt x="8763" y="910590"/>
                      <a:pt x="0" y="919448"/>
                      <a:pt x="0" y="930307"/>
                    </a:cubicBezTo>
                    <a:lnTo>
                      <a:pt x="0" y="1107472"/>
                    </a:lnTo>
                    <a:cubicBezTo>
                      <a:pt x="0" y="1118330"/>
                      <a:pt x="8858" y="1127189"/>
                      <a:pt x="19717" y="1127189"/>
                    </a:cubicBezTo>
                    <a:close/>
                    <a:moveTo>
                      <a:pt x="19717" y="3961067"/>
                    </a:moveTo>
                    <a:cubicBezTo>
                      <a:pt x="30671" y="3961067"/>
                      <a:pt x="39434" y="3952208"/>
                      <a:pt x="39434" y="3941350"/>
                    </a:cubicBezTo>
                    <a:lnTo>
                      <a:pt x="39434" y="3764185"/>
                    </a:lnTo>
                    <a:cubicBezTo>
                      <a:pt x="39434" y="3753231"/>
                      <a:pt x="30575" y="3744468"/>
                      <a:pt x="19717" y="3744468"/>
                    </a:cubicBezTo>
                    <a:cubicBezTo>
                      <a:pt x="8763" y="3744468"/>
                      <a:pt x="0" y="3753326"/>
                      <a:pt x="0" y="3764185"/>
                    </a:cubicBezTo>
                    <a:lnTo>
                      <a:pt x="0" y="3941350"/>
                    </a:lnTo>
                    <a:cubicBezTo>
                      <a:pt x="0" y="3952208"/>
                      <a:pt x="8858" y="3961067"/>
                      <a:pt x="19717" y="3961067"/>
                    </a:cubicBezTo>
                    <a:close/>
                    <a:moveTo>
                      <a:pt x="19717" y="5023771"/>
                    </a:moveTo>
                    <a:cubicBezTo>
                      <a:pt x="30671" y="5023771"/>
                      <a:pt x="39434" y="5014913"/>
                      <a:pt x="39434" y="5004055"/>
                    </a:cubicBezTo>
                    <a:lnTo>
                      <a:pt x="39434" y="4826889"/>
                    </a:lnTo>
                    <a:cubicBezTo>
                      <a:pt x="39434" y="4815935"/>
                      <a:pt x="30575" y="4807173"/>
                      <a:pt x="19717" y="4807173"/>
                    </a:cubicBezTo>
                    <a:cubicBezTo>
                      <a:pt x="8763" y="4807173"/>
                      <a:pt x="0" y="4816031"/>
                      <a:pt x="0" y="4826889"/>
                    </a:cubicBezTo>
                    <a:lnTo>
                      <a:pt x="0" y="5004055"/>
                    </a:lnTo>
                    <a:cubicBezTo>
                      <a:pt x="0" y="5014913"/>
                      <a:pt x="8858" y="5023771"/>
                      <a:pt x="19717" y="5023771"/>
                    </a:cubicBezTo>
                    <a:close/>
                    <a:moveTo>
                      <a:pt x="19717" y="4669536"/>
                    </a:moveTo>
                    <a:cubicBezTo>
                      <a:pt x="30671" y="4669536"/>
                      <a:pt x="39434" y="4660678"/>
                      <a:pt x="39434" y="4649819"/>
                    </a:cubicBezTo>
                    <a:lnTo>
                      <a:pt x="39434" y="4472654"/>
                    </a:lnTo>
                    <a:cubicBezTo>
                      <a:pt x="39434" y="4461701"/>
                      <a:pt x="30575" y="4452938"/>
                      <a:pt x="19717" y="4452938"/>
                    </a:cubicBezTo>
                    <a:cubicBezTo>
                      <a:pt x="8763" y="4452938"/>
                      <a:pt x="0" y="4461796"/>
                      <a:pt x="0" y="4472654"/>
                    </a:cubicBezTo>
                    <a:lnTo>
                      <a:pt x="0" y="4649819"/>
                    </a:lnTo>
                    <a:cubicBezTo>
                      <a:pt x="0" y="4660678"/>
                      <a:pt x="8858" y="4669536"/>
                      <a:pt x="19717" y="4669536"/>
                    </a:cubicBezTo>
                    <a:close/>
                    <a:moveTo>
                      <a:pt x="39529" y="5202746"/>
                    </a:moveTo>
                    <a:lnTo>
                      <a:pt x="39529" y="5181124"/>
                    </a:lnTo>
                    <a:cubicBezTo>
                      <a:pt x="39529" y="5170171"/>
                      <a:pt x="30671" y="5161407"/>
                      <a:pt x="19812" y="5161407"/>
                    </a:cubicBezTo>
                    <a:cubicBezTo>
                      <a:pt x="8858" y="5161407"/>
                      <a:pt x="95" y="5170265"/>
                      <a:pt x="95" y="5181124"/>
                    </a:cubicBezTo>
                    <a:lnTo>
                      <a:pt x="95" y="5202746"/>
                    </a:lnTo>
                    <a:cubicBezTo>
                      <a:pt x="95" y="5256657"/>
                      <a:pt x="7239" y="5310092"/>
                      <a:pt x="21431" y="5361527"/>
                    </a:cubicBezTo>
                    <a:cubicBezTo>
                      <a:pt x="23813" y="5370290"/>
                      <a:pt x="31814" y="5376101"/>
                      <a:pt x="40481" y="5376101"/>
                    </a:cubicBezTo>
                    <a:cubicBezTo>
                      <a:pt x="42196" y="5376101"/>
                      <a:pt x="44006" y="5375910"/>
                      <a:pt x="45720" y="5375339"/>
                    </a:cubicBezTo>
                    <a:cubicBezTo>
                      <a:pt x="56198" y="5372481"/>
                      <a:pt x="62389" y="5361527"/>
                      <a:pt x="59531" y="5351050"/>
                    </a:cubicBezTo>
                    <a:cubicBezTo>
                      <a:pt x="46196" y="5303044"/>
                      <a:pt x="39529" y="5253133"/>
                      <a:pt x="39529" y="5202746"/>
                    </a:cubicBezTo>
                    <a:close/>
                    <a:moveTo>
                      <a:pt x="149638" y="232124"/>
                    </a:moveTo>
                    <a:cubicBezTo>
                      <a:pt x="140970" y="225552"/>
                      <a:pt x="128588" y="227267"/>
                      <a:pt x="121920" y="235934"/>
                    </a:cubicBezTo>
                    <a:cubicBezTo>
                      <a:pt x="84773" y="284798"/>
                      <a:pt x="55436" y="338709"/>
                      <a:pt x="34862" y="396240"/>
                    </a:cubicBezTo>
                    <a:cubicBezTo>
                      <a:pt x="31147" y="406527"/>
                      <a:pt x="36481" y="417862"/>
                      <a:pt x="46768" y="421481"/>
                    </a:cubicBezTo>
                    <a:cubicBezTo>
                      <a:pt x="48959" y="422243"/>
                      <a:pt x="51245" y="422624"/>
                      <a:pt x="53435" y="422624"/>
                    </a:cubicBezTo>
                    <a:cubicBezTo>
                      <a:pt x="61532" y="422624"/>
                      <a:pt x="69152" y="417576"/>
                      <a:pt x="72009" y="409480"/>
                    </a:cubicBezTo>
                    <a:cubicBezTo>
                      <a:pt x="91250" y="355759"/>
                      <a:pt x="118586" y="305372"/>
                      <a:pt x="153353" y="259842"/>
                    </a:cubicBezTo>
                    <a:cubicBezTo>
                      <a:pt x="160020" y="251174"/>
                      <a:pt x="158306" y="238792"/>
                      <a:pt x="149638" y="232124"/>
                    </a:cubicBezTo>
                    <a:close/>
                    <a:moveTo>
                      <a:pt x="19717" y="4315301"/>
                    </a:moveTo>
                    <a:cubicBezTo>
                      <a:pt x="30671" y="4315301"/>
                      <a:pt x="39434" y="4306443"/>
                      <a:pt x="39434" y="4295585"/>
                    </a:cubicBezTo>
                    <a:lnTo>
                      <a:pt x="39434" y="4118515"/>
                    </a:lnTo>
                    <a:cubicBezTo>
                      <a:pt x="39434" y="4107561"/>
                      <a:pt x="30575" y="4098798"/>
                      <a:pt x="19717" y="4098798"/>
                    </a:cubicBezTo>
                    <a:cubicBezTo>
                      <a:pt x="8763" y="4098798"/>
                      <a:pt x="0" y="4107656"/>
                      <a:pt x="0" y="4118515"/>
                    </a:cubicBezTo>
                    <a:lnTo>
                      <a:pt x="0" y="4295585"/>
                    </a:lnTo>
                    <a:cubicBezTo>
                      <a:pt x="0" y="4306443"/>
                      <a:pt x="8858" y="4315301"/>
                      <a:pt x="19717" y="4315301"/>
                    </a:cubicBezTo>
                    <a:close/>
                    <a:moveTo>
                      <a:pt x="19717" y="3606832"/>
                    </a:moveTo>
                    <a:cubicBezTo>
                      <a:pt x="30671" y="3606832"/>
                      <a:pt x="39434" y="3597974"/>
                      <a:pt x="39434" y="3587020"/>
                    </a:cubicBezTo>
                    <a:lnTo>
                      <a:pt x="39434" y="3409855"/>
                    </a:lnTo>
                    <a:cubicBezTo>
                      <a:pt x="39434" y="3398901"/>
                      <a:pt x="30575" y="3390138"/>
                      <a:pt x="19717" y="3390138"/>
                    </a:cubicBezTo>
                    <a:cubicBezTo>
                      <a:pt x="8763" y="3390138"/>
                      <a:pt x="0" y="3398996"/>
                      <a:pt x="0" y="3409855"/>
                    </a:cubicBezTo>
                    <a:lnTo>
                      <a:pt x="0" y="3587020"/>
                    </a:lnTo>
                    <a:cubicBezTo>
                      <a:pt x="0" y="3597974"/>
                      <a:pt x="8858" y="3606832"/>
                      <a:pt x="19717" y="3606832"/>
                    </a:cubicBezTo>
                    <a:close/>
                    <a:moveTo>
                      <a:pt x="19717" y="3252597"/>
                    </a:moveTo>
                    <a:cubicBezTo>
                      <a:pt x="30671" y="3252597"/>
                      <a:pt x="39434" y="3243739"/>
                      <a:pt x="39434" y="3232881"/>
                    </a:cubicBezTo>
                    <a:lnTo>
                      <a:pt x="39434" y="3055715"/>
                    </a:lnTo>
                    <a:cubicBezTo>
                      <a:pt x="39434" y="3044762"/>
                      <a:pt x="30575" y="3035999"/>
                      <a:pt x="19717" y="3035999"/>
                    </a:cubicBezTo>
                    <a:cubicBezTo>
                      <a:pt x="8763" y="3035999"/>
                      <a:pt x="0" y="3044857"/>
                      <a:pt x="0" y="3055715"/>
                    </a:cubicBezTo>
                    <a:lnTo>
                      <a:pt x="0" y="3232881"/>
                    </a:lnTo>
                    <a:cubicBezTo>
                      <a:pt x="0" y="3243739"/>
                      <a:pt x="8858" y="3252597"/>
                      <a:pt x="19717" y="3252597"/>
                    </a:cubicBezTo>
                    <a:close/>
                    <a:moveTo>
                      <a:pt x="5382292" y="3609594"/>
                    </a:moveTo>
                    <a:cubicBezTo>
                      <a:pt x="5371338" y="3609594"/>
                      <a:pt x="5362575" y="3618452"/>
                      <a:pt x="5362575" y="3629311"/>
                    </a:cubicBezTo>
                    <a:lnTo>
                      <a:pt x="5362575" y="3806381"/>
                    </a:lnTo>
                    <a:cubicBezTo>
                      <a:pt x="5362575" y="3817334"/>
                      <a:pt x="5371433" y="3826098"/>
                      <a:pt x="5382292" y="3826098"/>
                    </a:cubicBezTo>
                    <a:cubicBezTo>
                      <a:pt x="5393245" y="3826098"/>
                      <a:pt x="5402009" y="3817239"/>
                      <a:pt x="5402009" y="3806381"/>
                    </a:cubicBezTo>
                    <a:lnTo>
                      <a:pt x="5402009" y="3629311"/>
                    </a:lnTo>
                    <a:cubicBezTo>
                      <a:pt x="5402009" y="3618452"/>
                      <a:pt x="5393151" y="3609594"/>
                      <a:pt x="5382292" y="3609594"/>
                    </a:cubicBezTo>
                    <a:close/>
                    <a:moveTo>
                      <a:pt x="2919032" y="19717"/>
                    </a:moveTo>
                    <a:cubicBezTo>
                      <a:pt x="2919032" y="8763"/>
                      <a:pt x="2910173" y="0"/>
                      <a:pt x="2899315" y="0"/>
                    </a:cubicBezTo>
                    <a:lnTo>
                      <a:pt x="2722245" y="0"/>
                    </a:lnTo>
                    <a:cubicBezTo>
                      <a:pt x="2711291" y="0"/>
                      <a:pt x="2702528" y="8858"/>
                      <a:pt x="2702528" y="19717"/>
                    </a:cubicBezTo>
                    <a:cubicBezTo>
                      <a:pt x="2702528" y="30670"/>
                      <a:pt x="2711387" y="39434"/>
                      <a:pt x="2722245" y="39434"/>
                    </a:cubicBezTo>
                    <a:lnTo>
                      <a:pt x="2899315" y="39434"/>
                    </a:lnTo>
                    <a:cubicBezTo>
                      <a:pt x="2910173" y="39434"/>
                      <a:pt x="2919032" y="30670"/>
                      <a:pt x="2919032" y="19717"/>
                    </a:cubicBezTo>
                    <a:close/>
                    <a:moveTo>
                      <a:pt x="5382292" y="3963829"/>
                    </a:moveTo>
                    <a:cubicBezTo>
                      <a:pt x="5371338" y="3963829"/>
                      <a:pt x="5362575" y="3972687"/>
                      <a:pt x="5362575" y="3983546"/>
                    </a:cubicBezTo>
                    <a:lnTo>
                      <a:pt x="5362575" y="4160711"/>
                    </a:lnTo>
                    <a:cubicBezTo>
                      <a:pt x="5362575" y="4171664"/>
                      <a:pt x="5371433" y="4180427"/>
                      <a:pt x="5382292" y="4180427"/>
                    </a:cubicBezTo>
                    <a:cubicBezTo>
                      <a:pt x="5393245" y="4180427"/>
                      <a:pt x="5402009" y="4171569"/>
                      <a:pt x="5402009" y="4160711"/>
                    </a:cubicBezTo>
                    <a:lnTo>
                      <a:pt x="5402009" y="3983546"/>
                    </a:lnTo>
                    <a:cubicBezTo>
                      <a:pt x="5402009" y="3972687"/>
                      <a:pt x="5393151" y="3963829"/>
                      <a:pt x="5382292" y="3963829"/>
                    </a:cubicBezTo>
                    <a:close/>
                    <a:moveTo>
                      <a:pt x="5382292" y="4318064"/>
                    </a:moveTo>
                    <a:cubicBezTo>
                      <a:pt x="5371338" y="4318064"/>
                      <a:pt x="5362575" y="4326922"/>
                      <a:pt x="5362575" y="4337781"/>
                    </a:cubicBezTo>
                    <a:lnTo>
                      <a:pt x="5362575" y="4514945"/>
                    </a:lnTo>
                    <a:cubicBezTo>
                      <a:pt x="5362575" y="4525899"/>
                      <a:pt x="5371433" y="4534662"/>
                      <a:pt x="5382292" y="4534662"/>
                    </a:cubicBezTo>
                    <a:cubicBezTo>
                      <a:pt x="5393245" y="4534662"/>
                      <a:pt x="5402009" y="4525804"/>
                      <a:pt x="5402009" y="4514945"/>
                    </a:cubicBezTo>
                    <a:lnTo>
                      <a:pt x="5402009" y="4337781"/>
                    </a:lnTo>
                    <a:cubicBezTo>
                      <a:pt x="5402009" y="4326922"/>
                      <a:pt x="5393151" y="4318064"/>
                      <a:pt x="5382292" y="4318064"/>
                    </a:cubicBezTo>
                    <a:close/>
                    <a:moveTo>
                      <a:pt x="5382292" y="5026533"/>
                    </a:moveTo>
                    <a:cubicBezTo>
                      <a:pt x="5371338" y="5026533"/>
                      <a:pt x="5362575" y="5035392"/>
                      <a:pt x="5362575" y="5046250"/>
                    </a:cubicBezTo>
                    <a:lnTo>
                      <a:pt x="5362575" y="5202746"/>
                    </a:lnTo>
                    <a:cubicBezTo>
                      <a:pt x="5362575" y="5209413"/>
                      <a:pt x="5362480" y="5216081"/>
                      <a:pt x="5362194" y="5222748"/>
                    </a:cubicBezTo>
                    <a:cubicBezTo>
                      <a:pt x="5361813" y="5233607"/>
                      <a:pt x="5370290" y="5242846"/>
                      <a:pt x="5381244" y="5243227"/>
                    </a:cubicBezTo>
                    <a:cubicBezTo>
                      <a:pt x="5381435" y="5243227"/>
                      <a:pt x="5381721" y="5243227"/>
                      <a:pt x="5381911" y="5243227"/>
                    </a:cubicBezTo>
                    <a:cubicBezTo>
                      <a:pt x="5392484" y="5243227"/>
                      <a:pt x="5401247" y="5234845"/>
                      <a:pt x="5401628" y="5224177"/>
                    </a:cubicBezTo>
                    <a:cubicBezTo>
                      <a:pt x="5401914" y="5217129"/>
                      <a:pt x="5402009" y="5209985"/>
                      <a:pt x="5402009" y="5202841"/>
                    </a:cubicBezTo>
                    <a:lnTo>
                      <a:pt x="5402009" y="5046346"/>
                    </a:lnTo>
                    <a:cubicBezTo>
                      <a:pt x="5402009" y="5035392"/>
                      <a:pt x="5393151" y="5026533"/>
                      <a:pt x="5382292" y="5026533"/>
                    </a:cubicBezTo>
                    <a:close/>
                    <a:moveTo>
                      <a:pt x="5382292" y="4672299"/>
                    </a:moveTo>
                    <a:cubicBezTo>
                      <a:pt x="5371338" y="4672299"/>
                      <a:pt x="5362575" y="4681157"/>
                      <a:pt x="5362575" y="4692015"/>
                    </a:cubicBezTo>
                    <a:lnTo>
                      <a:pt x="5362575" y="4869085"/>
                    </a:lnTo>
                    <a:cubicBezTo>
                      <a:pt x="5362575" y="4880039"/>
                      <a:pt x="5371433" y="4888802"/>
                      <a:pt x="5382292" y="4888802"/>
                    </a:cubicBezTo>
                    <a:cubicBezTo>
                      <a:pt x="5393245" y="4888802"/>
                      <a:pt x="5402009" y="4879943"/>
                      <a:pt x="5402009" y="4869085"/>
                    </a:cubicBezTo>
                    <a:lnTo>
                      <a:pt x="5402009" y="4692015"/>
                    </a:lnTo>
                    <a:cubicBezTo>
                      <a:pt x="5402009" y="4681157"/>
                      <a:pt x="5393151" y="4672299"/>
                      <a:pt x="5382292" y="4672299"/>
                    </a:cubicBezTo>
                    <a:close/>
                    <a:moveTo>
                      <a:pt x="5382292" y="2901125"/>
                    </a:moveTo>
                    <a:cubicBezTo>
                      <a:pt x="5371338" y="2901125"/>
                      <a:pt x="5362575" y="2909983"/>
                      <a:pt x="5362575" y="2920841"/>
                    </a:cubicBezTo>
                    <a:lnTo>
                      <a:pt x="5362575" y="3097911"/>
                    </a:lnTo>
                    <a:cubicBezTo>
                      <a:pt x="5362575" y="3108865"/>
                      <a:pt x="5371433" y="3117628"/>
                      <a:pt x="5382292" y="3117628"/>
                    </a:cubicBezTo>
                    <a:cubicBezTo>
                      <a:pt x="5393245" y="3117628"/>
                      <a:pt x="5402009" y="3108769"/>
                      <a:pt x="5402009" y="3097911"/>
                    </a:cubicBezTo>
                    <a:lnTo>
                      <a:pt x="5402009" y="2920841"/>
                    </a:lnTo>
                    <a:cubicBezTo>
                      <a:pt x="5402009" y="2909983"/>
                      <a:pt x="5393151" y="2901125"/>
                      <a:pt x="5382292" y="2901125"/>
                    </a:cubicBezTo>
                    <a:close/>
                    <a:moveTo>
                      <a:pt x="5382292" y="2546890"/>
                    </a:moveTo>
                    <a:cubicBezTo>
                      <a:pt x="5371338" y="2546890"/>
                      <a:pt x="5362575" y="2555748"/>
                      <a:pt x="5362575" y="2566607"/>
                    </a:cubicBezTo>
                    <a:lnTo>
                      <a:pt x="5362575" y="2743772"/>
                    </a:lnTo>
                    <a:cubicBezTo>
                      <a:pt x="5362575" y="2754725"/>
                      <a:pt x="5371433" y="2763488"/>
                      <a:pt x="5382292" y="2763488"/>
                    </a:cubicBezTo>
                    <a:cubicBezTo>
                      <a:pt x="5393245" y="2763488"/>
                      <a:pt x="5402009" y="2754630"/>
                      <a:pt x="5402009" y="2743772"/>
                    </a:cubicBezTo>
                    <a:lnTo>
                      <a:pt x="5402009" y="2566607"/>
                    </a:lnTo>
                    <a:cubicBezTo>
                      <a:pt x="5402009" y="2555748"/>
                      <a:pt x="5393151" y="2546890"/>
                      <a:pt x="5382292" y="2546890"/>
                    </a:cubicBezTo>
                    <a:close/>
                    <a:moveTo>
                      <a:pt x="5382292" y="1129951"/>
                    </a:moveTo>
                    <a:cubicBezTo>
                      <a:pt x="5371338" y="1129951"/>
                      <a:pt x="5362575" y="1138809"/>
                      <a:pt x="5362575" y="1149668"/>
                    </a:cubicBezTo>
                    <a:lnTo>
                      <a:pt x="5362575" y="1326833"/>
                    </a:lnTo>
                    <a:cubicBezTo>
                      <a:pt x="5362575" y="1337786"/>
                      <a:pt x="5371433" y="1346549"/>
                      <a:pt x="5382292" y="1346549"/>
                    </a:cubicBezTo>
                    <a:cubicBezTo>
                      <a:pt x="5393245" y="1346549"/>
                      <a:pt x="5402009" y="1337691"/>
                      <a:pt x="5402009" y="1326833"/>
                    </a:cubicBezTo>
                    <a:lnTo>
                      <a:pt x="5402009" y="1149668"/>
                    </a:lnTo>
                    <a:cubicBezTo>
                      <a:pt x="5402009" y="1138809"/>
                      <a:pt x="5393151" y="1129951"/>
                      <a:pt x="5382292" y="1129951"/>
                    </a:cubicBezTo>
                    <a:close/>
                    <a:moveTo>
                      <a:pt x="5382292" y="775716"/>
                    </a:moveTo>
                    <a:cubicBezTo>
                      <a:pt x="5371338" y="775716"/>
                      <a:pt x="5362575" y="784574"/>
                      <a:pt x="5362575" y="795433"/>
                    </a:cubicBezTo>
                    <a:lnTo>
                      <a:pt x="5362575" y="972503"/>
                    </a:lnTo>
                    <a:cubicBezTo>
                      <a:pt x="5362575" y="983456"/>
                      <a:pt x="5371433" y="992219"/>
                      <a:pt x="5382292" y="992219"/>
                    </a:cubicBezTo>
                    <a:cubicBezTo>
                      <a:pt x="5393245" y="992219"/>
                      <a:pt x="5402009" y="983361"/>
                      <a:pt x="5402009" y="972503"/>
                    </a:cubicBezTo>
                    <a:lnTo>
                      <a:pt x="5402009" y="795528"/>
                    </a:lnTo>
                    <a:cubicBezTo>
                      <a:pt x="5402009" y="784574"/>
                      <a:pt x="5393151" y="775716"/>
                      <a:pt x="5382292" y="775716"/>
                    </a:cubicBezTo>
                    <a:close/>
                    <a:moveTo>
                      <a:pt x="5380387" y="437960"/>
                    </a:moveTo>
                    <a:cubicBezTo>
                      <a:pt x="5377434" y="427482"/>
                      <a:pt x="5366576" y="421291"/>
                      <a:pt x="5356098" y="424148"/>
                    </a:cubicBezTo>
                    <a:cubicBezTo>
                      <a:pt x="5345620" y="427101"/>
                      <a:pt x="5339430" y="437960"/>
                      <a:pt x="5342287" y="448437"/>
                    </a:cubicBezTo>
                    <a:cubicBezTo>
                      <a:pt x="5355718" y="496824"/>
                      <a:pt x="5362480" y="547116"/>
                      <a:pt x="5362480" y="597789"/>
                    </a:cubicBezTo>
                    <a:lnTo>
                      <a:pt x="5362480" y="618363"/>
                    </a:lnTo>
                    <a:cubicBezTo>
                      <a:pt x="5362480" y="629317"/>
                      <a:pt x="5371338" y="638080"/>
                      <a:pt x="5382197" y="638080"/>
                    </a:cubicBezTo>
                    <a:cubicBezTo>
                      <a:pt x="5393151" y="638080"/>
                      <a:pt x="5401914" y="629222"/>
                      <a:pt x="5401914" y="618363"/>
                    </a:cubicBezTo>
                    <a:lnTo>
                      <a:pt x="5401914" y="597789"/>
                    </a:lnTo>
                    <a:cubicBezTo>
                      <a:pt x="5402009" y="543497"/>
                      <a:pt x="5394770" y="489776"/>
                      <a:pt x="5380387" y="437960"/>
                    </a:cubicBezTo>
                    <a:close/>
                    <a:moveTo>
                      <a:pt x="5382292" y="2192655"/>
                    </a:moveTo>
                    <a:cubicBezTo>
                      <a:pt x="5371338" y="2192655"/>
                      <a:pt x="5362575" y="2201513"/>
                      <a:pt x="5362575" y="2212372"/>
                    </a:cubicBezTo>
                    <a:lnTo>
                      <a:pt x="5362575" y="2389537"/>
                    </a:lnTo>
                    <a:cubicBezTo>
                      <a:pt x="5362575" y="2400491"/>
                      <a:pt x="5371433" y="2409254"/>
                      <a:pt x="5382292" y="2409254"/>
                    </a:cubicBezTo>
                    <a:cubicBezTo>
                      <a:pt x="5393245" y="2409254"/>
                      <a:pt x="5402009" y="2400395"/>
                      <a:pt x="5402009" y="2389537"/>
                    </a:cubicBezTo>
                    <a:lnTo>
                      <a:pt x="5402009" y="2212372"/>
                    </a:lnTo>
                    <a:cubicBezTo>
                      <a:pt x="5402009" y="2201513"/>
                      <a:pt x="5393151" y="2192655"/>
                      <a:pt x="5382292" y="2192655"/>
                    </a:cubicBezTo>
                    <a:close/>
                    <a:moveTo>
                      <a:pt x="5355622" y="5378101"/>
                    </a:moveTo>
                    <a:cubicBezTo>
                      <a:pt x="5345335" y="5374386"/>
                      <a:pt x="5334000" y="5379815"/>
                      <a:pt x="5330381" y="5390102"/>
                    </a:cubicBezTo>
                    <a:cubicBezTo>
                      <a:pt x="5311235" y="5443919"/>
                      <a:pt x="5283994" y="5494306"/>
                      <a:pt x="5249323" y="5539931"/>
                    </a:cubicBezTo>
                    <a:cubicBezTo>
                      <a:pt x="5242751" y="5548599"/>
                      <a:pt x="5244465" y="5560981"/>
                      <a:pt x="5253133" y="5567649"/>
                    </a:cubicBezTo>
                    <a:cubicBezTo>
                      <a:pt x="5256753" y="5570315"/>
                      <a:pt x="5260944" y="5571649"/>
                      <a:pt x="5265039" y="5571649"/>
                    </a:cubicBezTo>
                    <a:cubicBezTo>
                      <a:pt x="5271040" y="5571649"/>
                      <a:pt x="5276946" y="5568982"/>
                      <a:pt x="5280755" y="5563838"/>
                    </a:cubicBezTo>
                    <a:cubicBezTo>
                      <a:pt x="5317808" y="5514975"/>
                      <a:pt x="5347049" y="5460968"/>
                      <a:pt x="5367528" y="5403342"/>
                    </a:cubicBezTo>
                    <a:cubicBezTo>
                      <a:pt x="5371243" y="5393055"/>
                      <a:pt x="5365909" y="5381720"/>
                      <a:pt x="5355622" y="5378101"/>
                    </a:cubicBezTo>
                    <a:close/>
                    <a:moveTo>
                      <a:pt x="5382292" y="1838420"/>
                    </a:moveTo>
                    <a:cubicBezTo>
                      <a:pt x="5371338" y="1838420"/>
                      <a:pt x="5362575" y="1847279"/>
                      <a:pt x="5362575" y="1858137"/>
                    </a:cubicBezTo>
                    <a:lnTo>
                      <a:pt x="5362575" y="2035207"/>
                    </a:lnTo>
                    <a:cubicBezTo>
                      <a:pt x="5362575" y="2046161"/>
                      <a:pt x="5371433" y="2054924"/>
                      <a:pt x="5382292" y="2054924"/>
                    </a:cubicBezTo>
                    <a:cubicBezTo>
                      <a:pt x="5393245" y="2054924"/>
                      <a:pt x="5402009" y="2046065"/>
                      <a:pt x="5402009" y="2035207"/>
                    </a:cubicBezTo>
                    <a:lnTo>
                      <a:pt x="5402009" y="1858137"/>
                    </a:lnTo>
                    <a:cubicBezTo>
                      <a:pt x="5402009" y="1847279"/>
                      <a:pt x="5393151" y="1838420"/>
                      <a:pt x="5382292" y="1838420"/>
                    </a:cubicBezTo>
                    <a:close/>
                    <a:moveTo>
                      <a:pt x="5382292" y="1484186"/>
                    </a:moveTo>
                    <a:cubicBezTo>
                      <a:pt x="5371338" y="1484186"/>
                      <a:pt x="5362575" y="1493044"/>
                      <a:pt x="5362575" y="1503902"/>
                    </a:cubicBezTo>
                    <a:lnTo>
                      <a:pt x="5362575" y="1681067"/>
                    </a:lnTo>
                    <a:cubicBezTo>
                      <a:pt x="5362575" y="1692021"/>
                      <a:pt x="5371433" y="1700784"/>
                      <a:pt x="5382292" y="1700784"/>
                    </a:cubicBezTo>
                    <a:cubicBezTo>
                      <a:pt x="5393245" y="1700784"/>
                      <a:pt x="5402009" y="1691926"/>
                      <a:pt x="5402009" y="1681067"/>
                    </a:cubicBezTo>
                    <a:lnTo>
                      <a:pt x="5402009" y="1503902"/>
                    </a:lnTo>
                    <a:cubicBezTo>
                      <a:pt x="5402009" y="1493044"/>
                      <a:pt x="5393151" y="1484186"/>
                      <a:pt x="5382292" y="1484186"/>
                    </a:cubicBezTo>
                    <a:close/>
                    <a:moveTo>
                      <a:pt x="5382292" y="3255359"/>
                    </a:moveTo>
                    <a:cubicBezTo>
                      <a:pt x="5371338" y="3255359"/>
                      <a:pt x="5362575" y="3264218"/>
                      <a:pt x="5362575" y="3275076"/>
                    </a:cubicBezTo>
                    <a:lnTo>
                      <a:pt x="5362575" y="3452241"/>
                    </a:lnTo>
                    <a:cubicBezTo>
                      <a:pt x="5362575" y="3463195"/>
                      <a:pt x="5371433" y="3471958"/>
                      <a:pt x="5382292" y="3471958"/>
                    </a:cubicBezTo>
                    <a:cubicBezTo>
                      <a:pt x="5393245" y="3471958"/>
                      <a:pt x="5402009" y="3463100"/>
                      <a:pt x="5402009" y="3452241"/>
                    </a:cubicBezTo>
                    <a:lnTo>
                      <a:pt x="5402009" y="3275076"/>
                    </a:lnTo>
                    <a:cubicBezTo>
                      <a:pt x="5402009" y="3264218"/>
                      <a:pt x="5393151" y="3255359"/>
                      <a:pt x="5382292" y="3255359"/>
                    </a:cubicBezTo>
                    <a:close/>
                    <a:moveTo>
                      <a:pt x="5288756" y="302228"/>
                    </a:moveTo>
                    <a:cubicBezTo>
                      <a:pt x="5292471" y="302228"/>
                      <a:pt x="5296186" y="301181"/>
                      <a:pt x="5299520" y="298990"/>
                    </a:cubicBezTo>
                    <a:cubicBezTo>
                      <a:pt x="5308664" y="292989"/>
                      <a:pt x="5311235" y="280797"/>
                      <a:pt x="5305235" y="271653"/>
                    </a:cubicBezTo>
                    <a:cubicBezTo>
                      <a:pt x="5271802" y="220409"/>
                      <a:pt x="5230844" y="174689"/>
                      <a:pt x="5183505" y="135827"/>
                    </a:cubicBezTo>
                    <a:cubicBezTo>
                      <a:pt x="5175123" y="128873"/>
                      <a:pt x="5162646" y="130111"/>
                      <a:pt x="5155693" y="138589"/>
                    </a:cubicBezTo>
                    <a:cubicBezTo>
                      <a:pt x="5148739" y="146971"/>
                      <a:pt x="5149977" y="159449"/>
                      <a:pt x="5158455" y="166402"/>
                    </a:cubicBezTo>
                    <a:cubicBezTo>
                      <a:pt x="5202651" y="202787"/>
                      <a:pt x="5240941" y="245459"/>
                      <a:pt x="5272088" y="293370"/>
                    </a:cubicBezTo>
                    <a:cubicBezTo>
                      <a:pt x="5275993" y="299085"/>
                      <a:pt x="5282280" y="302228"/>
                      <a:pt x="5288756" y="302228"/>
                    </a:cubicBezTo>
                    <a:close/>
                    <a:moveTo>
                      <a:pt x="3627501" y="19717"/>
                    </a:moveTo>
                    <a:cubicBezTo>
                      <a:pt x="3627501" y="8763"/>
                      <a:pt x="3618643" y="0"/>
                      <a:pt x="3607784" y="0"/>
                    </a:cubicBezTo>
                    <a:lnTo>
                      <a:pt x="3430715" y="0"/>
                    </a:lnTo>
                    <a:cubicBezTo>
                      <a:pt x="3419761" y="0"/>
                      <a:pt x="3410998" y="8858"/>
                      <a:pt x="3410998" y="19717"/>
                    </a:cubicBezTo>
                    <a:cubicBezTo>
                      <a:pt x="3410998" y="30670"/>
                      <a:pt x="3419856" y="39434"/>
                      <a:pt x="3430715" y="39434"/>
                    </a:cubicBezTo>
                    <a:lnTo>
                      <a:pt x="3607784" y="39434"/>
                    </a:lnTo>
                    <a:cubicBezTo>
                      <a:pt x="3618643" y="39434"/>
                      <a:pt x="3627501" y="30670"/>
                      <a:pt x="3627501" y="19717"/>
                    </a:cubicBezTo>
                    <a:close/>
                    <a:moveTo>
                      <a:pt x="3981736" y="19717"/>
                    </a:moveTo>
                    <a:cubicBezTo>
                      <a:pt x="3981736" y="8763"/>
                      <a:pt x="3972878" y="0"/>
                      <a:pt x="3962019" y="0"/>
                    </a:cubicBezTo>
                    <a:lnTo>
                      <a:pt x="3784854" y="0"/>
                    </a:lnTo>
                    <a:cubicBezTo>
                      <a:pt x="3773900" y="0"/>
                      <a:pt x="3765137" y="8858"/>
                      <a:pt x="3765137" y="19717"/>
                    </a:cubicBezTo>
                    <a:cubicBezTo>
                      <a:pt x="3765137" y="30670"/>
                      <a:pt x="3773996" y="39434"/>
                      <a:pt x="3784854" y="39434"/>
                    </a:cubicBezTo>
                    <a:lnTo>
                      <a:pt x="3962019" y="39434"/>
                    </a:lnTo>
                    <a:cubicBezTo>
                      <a:pt x="3972878" y="39434"/>
                      <a:pt x="3981736" y="30670"/>
                      <a:pt x="3981736" y="19717"/>
                    </a:cubicBezTo>
                    <a:close/>
                    <a:moveTo>
                      <a:pt x="3741420" y="5761101"/>
                    </a:moveTo>
                    <a:lnTo>
                      <a:pt x="3564255" y="5761101"/>
                    </a:lnTo>
                    <a:cubicBezTo>
                      <a:pt x="3553301" y="5761101"/>
                      <a:pt x="3544538" y="5769959"/>
                      <a:pt x="3544538" y="5780818"/>
                    </a:cubicBezTo>
                    <a:cubicBezTo>
                      <a:pt x="3544538" y="5791772"/>
                      <a:pt x="3553397" y="5800535"/>
                      <a:pt x="3564255" y="5800535"/>
                    </a:cubicBezTo>
                    <a:lnTo>
                      <a:pt x="3741420" y="5800535"/>
                    </a:lnTo>
                    <a:cubicBezTo>
                      <a:pt x="3752374" y="5800535"/>
                      <a:pt x="3761137" y="5791677"/>
                      <a:pt x="3761137" y="5780818"/>
                    </a:cubicBezTo>
                    <a:cubicBezTo>
                      <a:pt x="3761232" y="5769959"/>
                      <a:pt x="3752374" y="5761101"/>
                      <a:pt x="3741420" y="5761101"/>
                    </a:cubicBezTo>
                    <a:close/>
                    <a:moveTo>
                      <a:pt x="3032951" y="5761101"/>
                    </a:moveTo>
                    <a:lnTo>
                      <a:pt x="2855881" y="5761101"/>
                    </a:lnTo>
                    <a:cubicBezTo>
                      <a:pt x="2844927" y="5761101"/>
                      <a:pt x="2836164" y="5769959"/>
                      <a:pt x="2836164" y="5780818"/>
                    </a:cubicBezTo>
                    <a:cubicBezTo>
                      <a:pt x="2836164" y="5791772"/>
                      <a:pt x="2845022" y="5800535"/>
                      <a:pt x="2855881" y="5800535"/>
                    </a:cubicBezTo>
                    <a:lnTo>
                      <a:pt x="3032951" y="5800535"/>
                    </a:lnTo>
                    <a:cubicBezTo>
                      <a:pt x="3043904" y="5800535"/>
                      <a:pt x="3052667" y="5791677"/>
                      <a:pt x="3052667" y="5780818"/>
                    </a:cubicBezTo>
                    <a:cubicBezTo>
                      <a:pt x="3052763" y="5769959"/>
                      <a:pt x="3043904" y="5761101"/>
                      <a:pt x="3032951" y="5761101"/>
                    </a:cubicBezTo>
                    <a:close/>
                    <a:moveTo>
                      <a:pt x="3387185" y="5761101"/>
                    </a:moveTo>
                    <a:lnTo>
                      <a:pt x="3210116" y="5761101"/>
                    </a:lnTo>
                    <a:cubicBezTo>
                      <a:pt x="3199162" y="5761101"/>
                      <a:pt x="3190399" y="5769959"/>
                      <a:pt x="3190399" y="5780818"/>
                    </a:cubicBezTo>
                    <a:cubicBezTo>
                      <a:pt x="3190399" y="5791772"/>
                      <a:pt x="3199257" y="5800535"/>
                      <a:pt x="3210116" y="5800535"/>
                    </a:cubicBezTo>
                    <a:lnTo>
                      <a:pt x="3387185" y="5800535"/>
                    </a:lnTo>
                    <a:cubicBezTo>
                      <a:pt x="3398139" y="5800535"/>
                      <a:pt x="3406902" y="5791677"/>
                      <a:pt x="3406902" y="5780818"/>
                    </a:cubicBezTo>
                    <a:cubicBezTo>
                      <a:pt x="3406997" y="5769959"/>
                      <a:pt x="3398139" y="5761101"/>
                      <a:pt x="3387185" y="5761101"/>
                    </a:cubicBezTo>
                    <a:close/>
                    <a:moveTo>
                      <a:pt x="3273266" y="19717"/>
                    </a:moveTo>
                    <a:cubicBezTo>
                      <a:pt x="3273266" y="8763"/>
                      <a:pt x="3264408" y="0"/>
                      <a:pt x="3253549" y="0"/>
                    </a:cubicBezTo>
                    <a:lnTo>
                      <a:pt x="3076480" y="0"/>
                    </a:lnTo>
                    <a:cubicBezTo>
                      <a:pt x="3065526" y="0"/>
                      <a:pt x="3056763" y="8858"/>
                      <a:pt x="3056763" y="19717"/>
                    </a:cubicBezTo>
                    <a:cubicBezTo>
                      <a:pt x="3056763" y="30670"/>
                      <a:pt x="3065621" y="39434"/>
                      <a:pt x="3076480" y="39434"/>
                    </a:cubicBezTo>
                    <a:lnTo>
                      <a:pt x="3253549" y="39434"/>
                    </a:lnTo>
                    <a:cubicBezTo>
                      <a:pt x="3264408" y="39434"/>
                      <a:pt x="3273266" y="30670"/>
                      <a:pt x="3273266" y="19717"/>
                    </a:cubicBezTo>
                    <a:close/>
                    <a:moveTo>
                      <a:pt x="4095655" y="5761101"/>
                    </a:moveTo>
                    <a:lnTo>
                      <a:pt x="3918490" y="5761101"/>
                    </a:lnTo>
                    <a:cubicBezTo>
                      <a:pt x="3907536" y="5761101"/>
                      <a:pt x="3898773" y="5769959"/>
                      <a:pt x="3898773" y="5780818"/>
                    </a:cubicBezTo>
                    <a:cubicBezTo>
                      <a:pt x="3898773" y="5791772"/>
                      <a:pt x="3907631" y="5800535"/>
                      <a:pt x="3918490" y="5800535"/>
                    </a:cubicBezTo>
                    <a:lnTo>
                      <a:pt x="4095655" y="5800535"/>
                    </a:lnTo>
                    <a:cubicBezTo>
                      <a:pt x="4106609" y="5800535"/>
                      <a:pt x="4115372" y="5791677"/>
                      <a:pt x="4115372" y="5780818"/>
                    </a:cubicBezTo>
                    <a:cubicBezTo>
                      <a:pt x="4115467" y="5769959"/>
                      <a:pt x="4106609" y="5761101"/>
                      <a:pt x="4095655" y="5761101"/>
                    </a:cubicBezTo>
                    <a:close/>
                    <a:moveTo>
                      <a:pt x="5019389" y="80867"/>
                    </a:moveTo>
                    <a:cubicBezTo>
                      <a:pt x="5027200" y="80867"/>
                      <a:pt x="5034630" y="76200"/>
                      <a:pt x="5037773" y="68485"/>
                    </a:cubicBezTo>
                    <a:cubicBezTo>
                      <a:pt x="5041869" y="58388"/>
                      <a:pt x="5036915" y="46863"/>
                      <a:pt x="5026819" y="42767"/>
                    </a:cubicBezTo>
                    <a:cubicBezTo>
                      <a:pt x="4970050" y="20003"/>
                      <a:pt x="4910328" y="6191"/>
                      <a:pt x="4849082" y="1619"/>
                    </a:cubicBezTo>
                    <a:cubicBezTo>
                      <a:pt x="4838224" y="857"/>
                      <a:pt x="4828699" y="8954"/>
                      <a:pt x="4827937" y="19907"/>
                    </a:cubicBezTo>
                    <a:cubicBezTo>
                      <a:pt x="4827175" y="30766"/>
                      <a:pt x="4835271" y="40291"/>
                      <a:pt x="4846225" y="41053"/>
                    </a:cubicBezTo>
                    <a:cubicBezTo>
                      <a:pt x="4903375" y="45244"/>
                      <a:pt x="4959192" y="58198"/>
                      <a:pt x="5012151" y="79439"/>
                    </a:cubicBezTo>
                    <a:cubicBezTo>
                      <a:pt x="5014437" y="80391"/>
                      <a:pt x="5016913" y="80867"/>
                      <a:pt x="5019389" y="80867"/>
                    </a:cubicBezTo>
                    <a:close/>
                    <a:moveTo>
                      <a:pt x="4806410" y="5761101"/>
                    </a:moveTo>
                    <a:lnTo>
                      <a:pt x="4627055" y="5761101"/>
                    </a:lnTo>
                    <a:cubicBezTo>
                      <a:pt x="4616101" y="5761101"/>
                      <a:pt x="4607338" y="5769959"/>
                      <a:pt x="4607338" y="5780818"/>
                    </a:cubicBezTo>
                    <a:cubicBezTo>
                      <a:pt x="4607338" y="5791772"/>
                      <a:pt x="4616196" y="5800535"/>
                      <a:pt x="4627055" y="5800535"/>
                    </a:cubicBezTo>
                    <a:lnTo>
                      <a:pt x="4804410" y="5800535"/>
                    </a:lnTo>
                    <a:lnTo>
                      <a:pt x="4806315" y="5800535"/>
                    </a:lnTo>
                    <a:cubicBezTo>
                      <a:pt x="4817269" y="5800535"/>
                      <a:pt x="4826032" y="5791677"/>
                      <a:pt x="4826032" y="5780818"/>
                    </a:cubicBezTo>
                    <a:cubicBezTo>
                      <a:pt x="4826127" y="5769959"/>
                      <a:pt x="4817269" y="5761101"/>
                      <a:pt x="4806410" y="5761101"/>
                    </a:cubicBezTo>
                    <a:close/>
                    <a:moveTo>
                      <a:pt x="4335971" y="19717"/>
                    </a:moveTo>
                    <a:cubicBezTo>
                      <a:pt x="4335971" y="8763"/>
                      <a:pt x="4327113" y="0"/>
                      <a:pt x="4316254" y="0"/>
                    </a:cubicBezTo>
                    <a:lnTo>
                      <a:pt x="4139184" y="0"/>
                    </a:lnTo>
                    <a:cubicBezTo>
                      <a:pt x="4128230" y="0"/>
                      <a:pt x="4119467" y="8858"/>
                      <a:pt x="4119467" y="19717"/>
                    </a:cubicBezTo>
                    <a:cubicBezTo>
                      <a:pt x="4119467" y="30670"/>
                      <a:pt x="4128326" y="39434"/>
                      <a:pt x="4139184" y="39434"/>
                    </a:cubicBezTo>
                    <a:lnTo>
                      <a:pt x="4316254" y="39434"/>
                    </a:lnTo>
                    <a:cubicBezTo>
                      <a:pt x="4327113" y="39434"/>
                      <a:pt x="4335971" y="30670"/>
                      <a:pt x="4335971" y="19717"/>
                    </a:cubicBezTo>
                    <a:close/>
                    <a:moveTo>
                      <a:pt x="5126927" y="5658422"/>
                    </a:moveTo>
                    <a:cubicBezTo>
                      <a:pt x="5080159" y="5691569"/>
                      <a:pt x="5028914" y="5717191"/>
                      <a:pt x="4974622" y="5734622"/>
                    </a:cubicBezTo>
                    <a:cubicBezTo>
                      <a:pt x="4964240" y="5737956"/>
                      <a:pt x="4958525" y="5749100"/>
                      <a:pt x="4961858" y="5759482"/>
                    </a:cubicBezTo>
                    <a:cubicBezTo>
                      <a:pt x="4964526" y="5767864"/>
                      <a:pt x="4972336" y="5773198"/>
                      <a:pt x="4980718" y="5773198"/>
                    </a:cubicBezTo>
                    <a:cubicBezTo>
                      <a:pt x="4982718" y="5773198"/>
                      <a:pt x="4984719" y="5772912"/>
                      <a:pt x="4986719" y="5772245"/>
                    </a:cubicBezTo>
                    <a:cubicBezTo>
                      <a:pt x="5044917" y="5753577"/>
                      <a:pt x="5099876" y="5726145"/>
                      <a:pt x="5149882" y="5690616"/>
                    </a:cubicBezTo>
                    <a:cubicBezTo>
                      <a:pt x="5158740" y="5684330"/>
                      <a:pt x="5160931" y="5671947"/>
                      <a:pt x="5154549" y="5663089"/>
                    </a:cubicBezTo>
                    <a:cubicBezTo>
                      <a:pt x="5148167" y="5654231"/>
                      <a:pt x="5135785" y="5652135"/>
                      <a:pt x="5126927" y="5658422"/>
                    </a:cubicBezTo>
                    <a:close/>
                    <a:moveTo>
                      <a:pt x="4690206" y="19717"/>
                    </a:moveTo>
                    <a:cubicBezTo>
                      <a:pt x="4690206" y="8763"/>
                      <a:pt x="4681347" y="0"/>
                      <a:pt x="4670489" y="0"/>
                    </a:cubicBezTo>
                    <a:lnTo>
                      <a:pt x="4493419" y="0"/>
                    </a:lnTo>
                    <a:cubicBezTo>
                      <a:pt x="4482465" y="0"/>
                      <a:pt x="4473702" y="8858"/>
                      <a:pt x="4473702" y="19717"/>
                    </a:cubicBezTo>
                    <a:cubicBezTo>
                      <a:pt x="4473702" y="30670"/>
                      <a:pt x="4482560" y="39434"/>
                      <a:pt x="4493419" y="39434"/>
                    </a:cubicBezTo>
                    <a:lnTo>
                      <a:pt x="4670489" y="39434"/>
                    </a:lnTo>
                    <a:cubicBezTo>
                      <a:pt x="4681347" y="39434"/>
                      <a:pt x="4690206" y="30670"/>
                      <a:pt x="4690206" y="19717"/>
                    </a:cubicBezTo>
                    <a:close/>
                    <a:moveTo>
                      <a:pt x="4449890" y="5761101"/>
                    </a:moveTo>
                    <a:lnTo>
                      <a:pt x="4272820" y="5761101"/>
                    </a:lnTo>
                    <a:cubicBezTo>
                      <a:pt x="4261866" y="5761101"/>
                      <a:pt x="4253103" y="5769959"/>
                      <a:pt x="4253103" y="5780818"/>
                    </a:cubicBezTo>
                    <a:cubicBezTo>
                      <a:pt x="4253103" y="5791772"/>
                      <a:pt x="4261962" y="5800535"/>
                      <a:pt x="4272820" y="5800535"/>
                    </a:cubicBezTo>
                    <a:lnTo>
                      <a:pt x="4449890" y="5800535"/>
                    </a:lnTo>
                    <a:cubicBezTo>
                      <a:pt x="4460843" y="5800535"/>
                      <a:pt x="4469606" y="5791677"/>
                      <a:pt x="4469606" y="5780818"/>
                    </a:cubicBezTo>
                    <a:cubicBezTo>
                      <a:pt x="4469702" y="5769959"/>
                      <a:pt x="4460843" y="5761101"/>
                      <a:pt x="4449890" y="5761101"/>
                    </a:cubicBez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446"/>
                <a:endParaRPr lang="en-GB">
                  <a:solidFill>
                    <a:srgbClr val="000000"/>
                  </a:solidFill>
                  <a:latin typeface="Novo Apply Sans"/>
                </a:endParaRPr>
              </a:p>
            </p:txBody>
          </p:sp>
          <p:grpSp>
            <p:nvGrpSpPr>
              <p:cNvPr id="49" name="Graphic 383">
                <a:extLst>
                  <a:ext uri="{FF2B5EF4-FFF2-40B4-BE49-F238E27FC236}">
                    <a16:creationId xmlns:a16="http://schemas.microsoft.com/office/drawing/2014/main" id="{850CF5C6-749C-4A00-931A-CAF3E0E58668}"/>
                  </a:ext>
                </a:extLst>
              </p:cNvPr>
              <p:cNvGrpSpPr/>
              <p:nvPr/>
            </p:nvGrpSpPr>
            <p:grpSpPr>
              <a:xfrm>
                <a:off x="11453942" y="4343400"/>
                <a:ext cx="665705" cy="1692866"/>
                <a:chOff x="9961530" y="2185987"/>
                <a:chExt cx="2327719" cy="5919311"/>
              </a:xfrm>
              <a:solidFill>
                <a:srgbClr val="FBB03B"/>
              </a:solidFill>
            </p:grpSpPr>
            <p:sp>
              <p:nvSpPr>
                <p:cNvPr id="50" name="Freeform: Shape 49">
                  <a:extLst>
                    <a:ext uri="{FF2B5EF4-FFF2-40B4-BE49-F238E27FC236}">
                      <a16:creationId xmlns:a16="http://schemas.microsoft.com/office/drawing/2014/main" id="{4C0F4A7E-1223-490F-85CB-DB9C9D03CB0D}"/>
                    </a:ext>
                  </a:extLst>
                </p:cNvPr>
                <p:cNvSpPr/>
                <p:nvPr/>
              </p:nvSpPr>
              <p:spPr>
                <a:xfrm>
                  <a:off x="9961530" y="2185987"/>
                  <a:ext cx="1500473" cy="5919311"/>
                </a:xfrm>
                <a:custGeom>
                  <a:avLst/>
                  <a:gdLst>
                    <a:gd name="connsiteX0" fmla="*/ 843344 w 1500473"/>
                    <a:gd name="connsiteY0" fmla="*/ 5919312 h 5919311"/>
                    <a:gd name="connsiteX1" fmla="*/ 0 w 1500473"/>
                    <a:gd name="connsiteY1" fmla="*/ 5919312 h 5919311"/>
                    <a:gd name="connsiteX2" fmla="*/ 0 w 1500473"/>
                    <a:gd name="connsiteY2" fmla="*/ 5761196 h 5919311"/>
                    <a:gd name="connsiteX3" fmla="*/ 843344 w 1500473"/>
                    <a:gd name="connsiteY3" fmla="*/ 5761196 h 5919311"/>
                    <a:gd name="connsiteX4" fmla="*/ 1342359 w 1500473"/>
                    <a:gd name="connsiteY4" fmla="*/ 5262182 h 5919311"/>
                    <a:gd name="connsiteX5" fmla="*/ 1342359 w 1500473"/>
                    <a:gd name="connsiteY5" fmla="*/ 657130 h 5919311"/>
                    <a:gd name="connsiteX6" fmla="*/ 843344 w 1500473"/>
                    <a:gd name="connsiteY6" fmla="*/ 158020 h 5919311"/>
                    <a:gd name="connsiteX7" fmla="*/ 3239 w 1500473"/>
                    <a:gd name="connsiteY7" fmla="*/ 158020 h 5919311"/>
                    <a:gd name="connsiteX8" fmla="*/ 3239 w 1500473"/>
                    <a:gd name="connsiteY8" fmla="*/ 0 h 5919311"/>
                    <a:gd name="connsiteX9" fmla="*/ 843344 w 1500473"/>
                    <a:gd name="connsiteY9" fmla="*/ 0 h 5919311"/>
                    <a:gd name="connsiteX10" fmla="*/ 1500473 w 1500473"/>
                    <a:gd name="connsiteY10" fmla="*/ 657130 h 5919311"/>
                    <a:gd name="connsiteX11" fmla="*/ 1500473 w 1500473"/>
                    <a:gd name="connsiteY11" fmla="*/ 5262087 h 5919311"/>
                    <a:gd name="connsiteX12" fmla="*/ 843344 w 1500473"/>
                    <a:gd name="connsiteY12" fmla="*/ 5919312 h 59193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500473" h="5919311">
                      <a:moveTo>
                        <a:pt x="843344" y="5919312"/>
                      </a:moveTo>
                      <a:lnTo>
                        <a:pt x="0" y="5919312"/>
                      </a:lnTo>
                      <a:lnTo>
                        <a:pt x="0" y="5761196"/>
                      </a:lnTo>
                      <a:lnTo>
                        <a:pt x="843344" y="5761196"/>
                      </a:lnTo>
                      <a:cubicBezTo>
                        <a:pt x="1118521" y="5761196"/>
                        <a:pt x="1342359" y="5537359"/>
                        <a:pt x="1342359" y="5262182"/>
                      </a:cubicBezTo>
                      <a:lnTo>
                        <a:pt x="1342359" y="657130"/>
                      </a:lnTo>
                      <a:cubicBezTo>
                        <a:pt x="1342359" y="381953"/>
                        <a:pt x="1118521" y="158020"/>
                        <a:pt x="843344" y="158020"/>
                      </a:cubicBezTo>
                      <a:lnTo>
                        <a:pt x="3239" y="158020"/>
                      </a:lnTo>
                      <a:lnTo>
                        <a:pt x="3239" y="0"/>
                      </a:lnTo>
                      <a:lnTo>
                        <a:pt x="843344" y="0"/>
                      </a:lnTo>
                      <a:cubicBezTo>
                        <a:pt x="1205674" y="0"/>
                        <a:pt x="1500473" y="294799"/>
                        <a:pt x="1500473" y="657130"/>
                      </a:cubicBezTo>
                      <a:lnTo>
                        <a:pt x="1500473" y="5262087"/>
                      </a:lnTo>
                      <a:cubicBezTo>
                        <a:pt x="1500569" y="5624513"/>
                        <a:pt x="1205770" y="5919312"/>
                        <a:pt x="843344" y="5919312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914446"/>
                  <a:endParaRPr lang="en-GB">
                    <a:solidFill>
                      <a:srgbClr val="000000"/>
                    </a:solidFill>
                    <a:latin typeface="Novo Apply Sans"/>
                  </a:endParaRPr>
                </a:p>
              </p:txBody>
            </p:sp>
            <p:sp>
              <p:nvSpPr>
                <p:cNvPr id="51" name="Freeform: Shape 50">
                  <a:extLst>
                    <a:ext uri="{FF2B5EF4-FFF2-40B4-BE49-F238E27FC236}">
                      <a16:creationId xmlns:a16="http://schemas.microsoft.com/office/drawing/2014/main" id="{3586873F-F7B5-4D90-B975-AAA8FDA2C3F7}"/>
                    </a:ext>
                  </a:extLst>
                </p:cNvPr>
                <p:cNvSpPr/>
                <p:nvPr/>
              </p:nvSpPr>
              <p:spPr>
                <a:xfrm>
                  <a:off x="11775852" y="4835842"/>
                  <a:ext cx="513397" cy="621315"/>
                </a:xfrm>
                <a:custGeom>
                  <a:avLst/>
                  <a:gdLst>
                    <a:gd name="connsiteX0" fmla="*/ 513398 w 513397"/>
                    <a:gd name="connsiteY0" fmla="*/ 310610 h 621315"/>
                    <a:gd name="connsiteX1" fmla="*/ 0 w 513397"/>
                    <a:gd name="connsiteY1" fmla="*/ 0 h 621315"/>
                    <a:gd name="connsiteX2" fmla="*/ 0 w 513397"/>
                    <a:gd name="connsiteY2" fmla="*/ 621316 h 6213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13397" h="621315">
                      <a:moveTo>
                        <a:pt x="513398" y="310610"/>
                      </a:moveTo>
                      <a:lnTo>
                        <a:pt x="0" y="0"/>
                      </a:lnTo>
                      <a:lnTo>
                        <a:pt x="0" y="62131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914446"/>
                  <a:endParaRPr lang="en-GB">
                    <a:solidFill>
                      <a:srgbClr val="000000"/>
                    </a:solidFill>
                    <a:latin typeface="Novo Apply Sans"/>
                  </a:endParaRPr>
                </a:p>
              </p:txBody>
            </p:sp>
            <p:sp>
              <p:nvSpPr>
                <p:cNvPr id="52" name="Freeform: Shape 51">
                  <a:extLst>
                    <a:ext uri="{FF2B5EF4-FFF2-40B4-BE49-F238E27FC236}">
                      <a16:creationId xmlns:a16="http://schemas.microsoft.com/office/drawing/2014/main" id="{2ECB6F5E-B6FF-4680-BED3-10E1DC8836F8}"/>
                    </a:ext>
                  </a:extLst>
                </p:cNvPr>
                <p:cNvSpPr/>
                <p:nvPr/>
              </p:nvSpPr>
              <p:spPr>
                <a:xfrm>
                  <a:off x="11329701" y="5041296"/>
                  <a:ext cx="740092" cy="210311"/>
                </a:xfrm>
                <a:custGeom>
                  <a:avLst/>
                  <a:gdLst>
                    <a:gd name="connsiteX0" fmla="*/ 0 w 740092"/>
                    <a:gd name="connsiteY0" fmla="*/ 0 h 210311"/>
                    <a:gd name="connsiteX1" fmla="*/ 740092 w 740092"/>
                    <a:gd name="connsiteY1" fmla="*/ 0 h 210311"/>
                    <a:gd name="connsiteX2" fmla="*/ 740092 w 740092"/>
                    <a:gd name="connsiteY2" fmla="*/ 210312 h 210311"/>
                    <a:gd name="connsiteX3" fmla="*/ 0 w 740092"/>
                    <a:gd name="connsiteY3" fmla="*/ 210312 h 2103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40092" h="210311">
                      <a:moveTo>
                        <a:pt x="0" y="0"/>
                      </a:moveTo>
                      <a:lnTo>
                        <a:pt x="740092" y="0"/>
                      </a:lnTo>
                      <a:lnTo>
                        <a:pt x="740092" y="210312"/>
                      </a:lnTo>
                      <a:lnTo>
                        <a:pt x="0" y="21031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914446"/>
                  <a:endParaRPr lang="en-GB">
                    <a:solidFill>
                      <a:srgbClr val="000000"/>
                    </a:solidFill>
                    <a:latin typeface="Novo Apply Sans"/>
                  </a:endParaRPr>
                </a:p>
              </p:txBody>
            </p:sp>
          </p:grpSp>
        </p:grpSp>
        <p:pic>
          <p:nvPicPr>
            <p:cNvPr id="81" name="Graphic 80">
              <a:extLst>
                <a:ext uri="{FF2B5EF4-FFF2-40B4-BE49-F238E27FC236}">
                  <a16:creationId xmlns:a16="http://schemas.microsoft.com/office/drawing/2014/main" id="{1A32B86A-EEF6-491B-99EB-FE7709DA982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0793045" y="4503875"/>
              <a:ext cx="676275" cy="676275"/>
            </a:xfrm>
            <a:prstGeom prst="rect">
              <a:avLst/>
            </a:prstGeom>
          </p:spPr>
        </p:pic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AA727204-18CC-4372-89DF-4D4DE9697018}"/>
                </a:ext>
              </a:extLst>
            </p:cNvPr>
            <p:cNvSpPr>
              <a:spLocks/>
            </p:cNvSpPr>
            <p:nvPr/>
          </p:nvSpPr>
          <p:spPr>
            <a:xfrm>
              <a:off x="10517120" y="5283150"/>
              <a:ext cx="1232853" cy="9258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914446">
                <a:lnSpc>
                  <a:spcPts val="1400"/>
                </a:lnSpc>
              </a:pPr>
              <a:r>
                <a:rPr lang="en-GB" sz="1067" b="1" dirty="0">
                  <a:solidFill>
                    <a:srgbClr val="001965"/>
                  </a:solidFill>
                  <a:latin typeface="Novo Apply Sans" panose="020F0502020204030204" pitchFamily="34" charset="0"/>
                </a:rPr>
                <a:t>Seed Investments</a:t>
              </a:r>
            </a:p>
          </p:txBody>
        </p:sp>
      </p:grp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F391DB31-312F-4A20-8666-D7FAC9CAC49F}"/>
              </a:ext>
            </a:extLst>
          </p:cNvPr>
          <p:cNvGrpSpPr/>
          <p:nvPr/>
        </p:nvGrpSpPr>
        <p:grpSpPr>
          <a:xfrm>
            <a:off x="4786487" y="2784239"/>
            <a:ext cx="1435580" cy="1351299"/>
            <a:chOff x="8208951" y="4176359"/>
            <a:chExt cx="2153370" cy="2026948"/>
          </a:xfrm>
        </p:grpSpPr>
        <p:grpSp>
          <p:nvGrpSpPr>
            <p:cNvPr id="122" name="Group 121">
              <a:extLst>
                <a:ext uri="{FF2B5EF4-FFF2-40B4-BE49-F238E27FC236}">
                  <a16:creationId xmlns:a16="http://schemas.microsoft.com/office/drawing/2014/main" id="{8DF32333-3214-46D8-BFC9-C79EEDFD3830}"/>
                </a:ext>
              </a:extLst>
            </p:cNvPr>
            <p:cNvGrpSpPr>
              <a:grpSpLocks/>
            </p:cNvGrpSpPr>
            <p:nvPr/>
          </p:nvGrpSpPr>
          <p:grpSpPr>
            <a:xfrm>
              <a:off x="8208951" y="4176359"/>
              <a:ext cx="2153370" cy="2026948"/>
              <a:chOff x="8364590" y="4343400"/>
              <a:chExt cx="1798450" cy="1692866"/>
            </a:xfrm>
          </p:grpSpPr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49E9B5CA-F58A-4494-AAFD-A748B408D699}"/>
                  </a:ext>
                </a:extLst>
              </p:cNvPr>
              <p:cNvSpPr/>
              <p:nvPr/>
            </p:nvSpPr>
            <p:spPr>
              <a:xfrm>
                <a:off x="8494446" y="4491916"/>
                <a:ext cx="1299213" cy="1395807"/>
              </a:xfrm>
              <a:custGeom>
                <a:avLst/>
                <a:gdLst>
                  <a:gd name="connsiteX0" fmla="*/ 3985641 w 4542853"/>
                  <a:gd name="connsiteY0" fmla="*/ 4880610 h 4880609"/>
                  <a:gd name="connsiteX1" fmla="*/ 557308 w 4542853"/>
                  <a:gd name="connsiteY1" fmla="*/ 4880610 h 4880609"/>
                  <a:gd name="connsiteX2" fmla="*/ 0 w 4542853"/>
                  <a:gd name="connsiteY2" fmla="*/ 4323303 h 4880609"/>
                  <a:gd name="connsiteX3" fmla="*/ 0 w 4542853"/>
                  <a:gd name="connsiteY3" fmla="*/ 557308 h 4880609"/>
                  <a:gd name="connsiteX4" fmla="*/ 557308 w 4542853"/>
                  <a:gd name="connsiteY4" fmla="*/ 0 h 4880609"/>
                  <a:gd name="connsiteX5" fmla="*/ 3985546 w 4542853"/>
                  <a:gd name="connsiteY5" fmla="*/ 0 h 4880609"/>
                  <a:gd name="connsiteX6" fmla="*/ 4542854 w 4542853"/>
                  <a:gd name="connsiteY6" fmla="*/ 557308 h 4880609"/>
                  <a:gd name="connsiteX7" fmla="*/ 4542854 w 4542853"/>
                  <a:gd name="connsiteY7" fmla="*/ 4323303 h 4880609"/>
                  <a:gd name="connsiteX8" fmla="*/ 3985641 w 4542853"/>
                  <a:gd name="connsiteY8" fmla="*/ 4880610 h 48806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42853" h="4880609">
                    <a:moveTo>
                      <a:pt x="3985641" y="4880610"/>
                    </a:moveTo>
                    <a:lnTo>
                      <a:pt x="557308" y="4880610"/>
                    </a:lnTo>
                    <a:cubicBezTo>
                      <a:pt x="249555" y="4880610"/>
                      <a:pt x="0" y="4631150"/>
                      <a:pt x="0" y="4323303"/>
                    </a:cubicBezTo>
                    <a:lnTo>
                      <a:pt x="0" y="557308"/>
                    </a:lnTo>
                    <a:cubicBezTo>
                      <a:pt x="0" y="249555"/>
                      <a:pt x="249460" y="0"/>
                      <a:pt x="557308" y="0"/>
                    </a:cubicBezTo>
                    <a:lnTo>
                      <a:pt x="3985546" y="0"/>
                    </a:lnTo>
                    <a:cubicBezTo>
                      <a:pt x="4293299" y="0"/>
                      <a:pt x="4542854" y="249460"/>
                      <a:pt x="4542854" y="557308"/>
                    </a:cubicBezTo>
                    <a:lnTo>
                      <a:pt x="4542854" y="4323303"/>
                    </a:lnTo>
                    <a:cubicBezTo>
                      <a:pt x="4542854" y="4631055"/>
                      <a:pt x="4293394" y="4880610"/>
                      <a:pt x="3985641" y="4880610"/>
                    </a:cubicBezTo>
                    <a:close/>
                  </a:path>
                </a:pathLst>
              </a:custGeom>
              <a:solidFill>
                <a:srgbClr val="CCCCC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446"/>
                <a:endParaRPr lang="en-GB">
                  <a:solidFill>
                    <a:srgbClr val="000000"/>
                  </a:solidFill>
                  <a:latin typeface="Novo Apply San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F912DB9D-A478-41D9-B23C-D6CC2F8C9429}"/>
                  </a:ext>
                </a:extLst>
              </p:cNvPr>
              <p:cNvSpPr/>
              <p:nvPr/>
            </p:nvSpPr>
            <p:spPr>
              <a:xfrm>
                <a:off x="8493874" y="4498835"/>
                <a:ext cx="1286355" cy="1381969"/>
              </a:xfrm>
              <a:custGeom>
                <a:avLst/>
                <a:gdLst>
                  <a:gd name="connsiteX0" fmla="*/ 3940588 w 4497895"/>
                  <a:gd name="connsiteY0" fmla="*/ 4832223 h 4832223"/>
                  <a:gd name="connsiteX1" fmla="*/ 557308 w 4497895"/>
                  <a:gd name="connsiteY1" fmla="*/ 4832223 h 4832223"/>
                  <a:gd name="connsiteX2" fmla="*/ 0 w 4497895"/>
                  <a:gd name="connsiteY2" fmla="*/ 4274915 h 4832223"/>
                  <a:gd name="connsiteX3" fmla="*/ 0 w 4497895"/>
                  <a:gd name="connsiteY3" fmla="*/ 557308 h 4832223"/>
                  <a:gd name="connsiteX4" fmla="*/ 557308 w 4497895"/>
                  <a:gd name="connsiteY4" fmla="*/ 0 h 4832223"/>
                  <a:gd name="connsiteX5" fmla="*/ 3940588 w 4497895"/>
                  <a:gd name="connsiteY5" fmla="*/ 0 h 4832223"/>
                  <a:gd name="connsiteX6" fmla="*/ 4497896 w 4497895"/>
                  <a:gd name="connsiteY6" fmla="*/ 557308 h 4832223"/>
                  <a:gd name="connsiteX7" fmla="*/ 4497896 w 4497895"/>
                  <a:gd name="connsiteY7" fmla="*/ 4275011 h 4832223"/>
                  <a:gd name="connsiteX8" fmla="*/ 3940588 w 4497895"/>
                  <a:gd name="connsiteY8" fmla="*/ 4832223 h 48322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497895" h="4832223">
                    <a:moveTo>
                      <a:pt x="3940588" y="4832223"/>
                    </a:moveTo>
                    <a:lnTo>
                      <a:pt x="557308" y="4832223"/>
                    </a:lnTo>
                    <a:cubicBezTo>
                      <a:pt x="249555" y="4832223"/>
                      <a:pt x="0" y="4582764"/>
                      <a:pt x="0" y="4274915"/>
                    </a:cubicBezTo>
                    <a:lnTo>
                      <a:pt x="0" y="557308"/>
                    </a:lnTo>
                    <a:cubicBezTo>
                      <a:pt x="0" y="249555"/>
                      <a:pt x="249460" y="0"/>
                      <a:pt x="557308" y="0"/>
                    </a:cubicBezTo>
                    <a:lnTo>
                      <a:pt x="3940588" y="0"/>
                    </a:lnTo>
                    <a:cubicBezTo>
                      <a:pt x="4248341" y="0"/>
                      <a:pt x="4497896" y="249460"/>
                      <a:pt x="4497896" y="557308"/>
                    </a:cubicBezTo>
                    <a:lnTo>
                      <a:pt x="4497896" y="4275011"/>
                    </a:lnTo>
                    <a:cubicBezTo>
                      <a:pt x="4497896" y="4582764"/>
                      <a:pt x="4248341" y="4832223"/>
                      <a:pt x="3940588" y="4832223"/>
                    </a:cubicBezTo>
                    <a:close/>
                  </a:path>
                </a:pathLst>
              </a:custGeom>
              <a:solidFill>
                <a:srgbClr val="F2F2F2"/>
              </a:solidFill>
              <a:ln w="9525" cap="flat">
                <a:noFill/>
                <a:prstDash val="solid"/>
                <a:miter/>
              </a:ln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defTabSz="914446"/>
                <a:endParaRPr lang="en-GB">
                  <a:solidFill>
                    <a:srgbClr val="000000"/>
                  </a:solidFill>
                  <a:latin typeface="Novo Apply Sans"/>
                </a:endParaRPr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DAF6DC6D-060F-4025-AFBD-77D633558C9E}"/>
                  </a:ext>
                </a:extLst>
              </p:cNvPr>
              <p:cNvSpPr/>
              <p:nvPr/>
            </p:nvSpPr>
            <p:spPr>
              <a:xfrm>
                <a:off x="8364590" y="4360371"/>
                <a:ext cx="1544923" cy="1658897"/>
              </a:xfrm>
              <a:custGeom>
                <a:avLst/>
                <a:gdLst>
                  <a:gd name="connsiteX0" fmla="*/ 1147858 w 5402008"/>
                  <a:gd name="connsiteY0" fmla="*/ 19717 h 5800534"/>
                  <a:gd name="connsiteX1" fmla="*/ 1128141 w 5402008"/>
                  <a:gd name="connsiteY1" fmla="*/ 0 h 5800534"/>
                  <a:gd name="connsiteX2" fmla="*/ 950976 w 5402008"/>
                  <a:gd name="connsiteY2" fmla="*/ 0 h 5800534"/>
                  <a:gd name="connsiteX3" fmla="*/ 931259 w 5402008"/>
                  <a:gd name="connsiteY3" fmla="*/ 19717 h 5800534"/>
                  <a:gd name="connsiteX4" fmla="*/ 950976 w 5402008"/>
                  <a:gd name="connsiteY4" fmla="*/ 39434 h 5800534"/>
                  <a:gd name="connsiteX5" fmla="*/ 1128141 w 5402008"/>
                  <a:gd name="connsiteY5" fmla="*/ 39434 h 5800534"/>
                  <a:gd name="connsiteX6" fmla="*/ 1147858 w 5402008"/>
                  <a:gd name="connsiteY6" fmla="*/ 19717 h 5800534"/>
                  <a:gd name="connsiteX7" fmla="*/ 1261872 w 5402008"/>
                  <a:gd name="connsiteY7" fmla="*/ 5761101 h 5800534"/>
                  <a:gd name="connsiteX8" fmla="*/ 1084707 w 5402008"/>
                  <a:gd name="connsiteY8" fmla="*/ 5761101 h 5800534"/>
                  <a:gd name="connsiteX9" fmla="*/ 1064990 w 5402008"/>
                  <a:gd name="connsiteY9" fmla="*/ 5780818 h 5800534"/>
                  <a:gd name="connsiteX10" fmla="*/ 1084707 w 5402008"/>
                  <a:gd name="connsiteY10" fmla="*/ 5800535 h 5800534"/>
                  <a:gd name="connsiteX11" fmla="*/ 1261872 w 5402008"/>
                  <a:gd name="connsiteY11" fmla="*/ 5800535 h 5800534"/>
                  <a:gd name="connsiteX12" fmla="*/ 1281589 w 5402008"/>
                  <a:gd name="connsiteY12" fmla="*/ 5780818 h 5800534"/>
                  <a:gd name="connsiteX13" fmla="*/ 1261872 w 5402008"/>
                  <a:gd name="connsiteY13" fmla="*/ 5761101 h 5800534"/>
                  <a:gd name="connsiteX14" fmla="*/ 907637 w 5402008"/>
                  <a:gd name="connsiteY14" fmla="*/ 5761101 h 5800534"/>
                  <a:gd name="connsiteX15" fmla="*/ 730472 w 5402008"/>
                  <a:gd name="connsiteY15" fmla="*/ 5761101 h 5800534"/>
                  <a:gd name="connsiteX16" fmla="*/ 710756 w 5402008"/>
                  <a:gd name="connsiteY16" fmla="*/ 5780818 h 5800534"/>
                  <a:gd name="connsiteX17" fmla="*/ 730472 w 5402008"/>
                  <a:gd name="connsiteY17" fmla="*/ 5800535 h 5800534"/>
                  <a:gd name="connsiteX18" fmla="*/ 907637 w 5402008"/>
                  <a:gd name="connsiteY18" fmla="*/ 5800535 h 5800534"/>
                  <a:gd name="connsiteX19" fmla="*/ 927354 w 5402008"/>
                  <a:gd name="connsiteY19" fmla="*/ 5780818 h 5800534"/>
                  <a:gd name="connsiteX20" fmla="*/ 907637 w 5402008"/>
                  <a:gd name="connsiteY20" fmla="*/ 5761101 h 5800534"/>
                  <a:gd name="connsiteX21" fmla="*/ 441293 w 5402008"/>
                  <a:gd name="connsiteY21" fmla="*/ 40767 h 5800534"/>
                  <a:gd name="connsiteX22" fmla="*/ 416433 w 5402008"/>
                  <a:gd name="connsiteY22" fmla="*/ 27908 h 5800534"/>
                  <a:gd name="connsiteX23" fmla="*/ 253079 w 5402008"/>
                  <a:gd name="connsiteY23" fmla="*/ 109157 h 5800534"/>
                  <a:gd name="connsiteX24" fmla="*/ 248317 w 5402008"/>
                  <a:gd name="connsiteY24" fmla="*/ 136684 h 5800534"/>
                  <a:gd name="connsiteX25" fmla="*/ 264509 w 5402008"/>
                  <a:gd name="connsiteY25" fmla="*/ 145066 h 5800534"/>
                  <a:gd name="connsiteX26" fmla="*/ 275939 w 5402008"/>
                  <a:gd name="connsiteY26" fmla="*/ 141446 h 5800534"/>
                  <a:gd name="connsiteX27" fmla="*/ 428435 w 5402008"/>
                  <a:gd name="connsiteY27" fmla="*/ 65532 h 5800534"/>
                  <a:gd name="connsiteX28" fmla="*/ 441293 w 5402008"/>
                  <a:gd name="connsiteY28" fmla="*/ 40767 h 5800534"/>
                  <a:gd name="connsiteX29" fmla="*/ 2678716 w 5402008"/>
                  <a:gd name="connsiteY29" fmla="*/ 5761101 h 5800534"/>
                  <a:gd name="connsiteX30" fmla="*/ 2501551 w 5402008"/>
                  <a:gd name="connsiteY30" fmla="*/ 5761101 h 5800534"/>
                  <a:gd name="connsiteX31" fmla="*/ 2481834 w 5402008"/>
                  <a:gd name="connsiteY31" fmla="*/ 5780818 h 5800534"/>
                  <a:gd name="connsiteX32" fmla="*/ 2501551 w 5402008"/>
                  <a:gd name="connsiteY32" fmla="*/ 5800535 h 5800534"/>
                  <a:gd name="connsiteX33" fmla="*/ 2678716 w 5402008"/>
                  <a:gd name="connsiteY33" fmla="*/ 5800535 h 5800534"/>
                  <a:gd name="connsiteX34" fmla="*/ 2698433 w 5402008"/>
                  <a:gd name="connsiteY34" fmla="*/ 5780818 h 5800534"/>
                  <a:gd name="connsiteX35" fmla="*/ 2678716 w 5402008"/>
                  <a:gd name="connsiteY35" fmla="*/ 5761101 h 5800534"/>
                  <a:gd name="connsiteX36" fmla="*/ 793623 w 5402008"/>
                  <a:gd name="connsiteY36" fmla="*/ 19717 h 5800534"/>
                  <a:gd name="connsiteX37" fmla="*/ 773906 w 5402008"/>
                  <a:gd name="connsiteY37" fmla="*/ 0 h 5800534"/>
                  <a:gd name="connsiteX38" fmla="*/ 596741 w 5402008"/>
                  <a:gd name="connsiteY38" fmla="*/ 0 h 5800534"/>
                  <a:gd name="connsiteX39" fmla="*/ 577025 w 5402008"/>
                  <a:gd name="connsiteY39" fmla="*/ 19717 h 5800534"/>
                  <a:gd name="connsiteX40" fmla="*/ 596741 w 5402008"/>
                  <a:gd name="connsiteY40" fmla="*/ 39434 h 5800534"/>
                  <a:gd name="connsiteX41" fmla="*/ 773906 w 5402008"/>
                  <a:gd name="connsiteY41" fmla="*/ 39434 h 5800534"/>
                  <a:gd name="connsiteX42" fmla="*/ 793623 w 5402008"/>
                  <a:gd name="connsiteY42" fmla="*/ 19717 h 5800534"/>
                  <a:gd name="connsiteX43" fmla="*/ 1502093 w 5402008"/>
                  <a:gd name="connsiteY43" fmla="*/ 19717 h 5800534"/>
                  <a:gd name="connsiteX44" fmla="*/ 1482376 w 5402008"/>
                  <a:gd name="connsiteY44" fmla="*/ 0 h 5800534"/>
                  <a:gd name="connsiteX45" fmla="*/ 1305306 w 5402008"/>
                  <a:gd name="connsiteY45" fmla="*/ 0 h 5800534"/>
                  <a:gd name="connsiteX46" fmla="*/ 1285589 w 5402008"/>
                  <a:gd name="connsiteY46" fmla="*/ 19717 h 5800534"/>
                  <a:gd name="connsiteX47" fmla="*/ 1305306 w 5402008"/>
                  <a:gd name="connsiteY47" fmla="*/ 39434 h 5800534"/>
                  <a:gd name="connsiteX48" fmla="*/ 1482376 w 5402008"/>
                  <a:gd name="connsiteY48" fmla="*/ 39434 h 5800534"/>
                  <a:gd name="connsiteX49" fmla="*/ 1502093 w 5402008"/>
                  <a:gd name="connsiteY49" fmla="*/ 19717 h 5800534"/>
                  <a:gd name="connsiteX50" fmla="*/ 2324481 w 5402008"/>
                  <a:gd name="connsiteY50" fmla="*/ 5761101 h 5800534"/>
                  <a:gd name="connsiteX51" fmla="*/ 2147316 w 5402008"/>
                  <a:gd name="connsiteY51" fmla="*/ 5761101 h 5800534"/>
                  <a:gd name="connsiteX52" fmla="*/ 2127599 w 5402008"/>
                  <a:gd name="connsiteY52" fmla="*/ 5780818 h 5800534"/>
                  <a:gd name="connsiteX53" fmla="*/ 2147316 w 5402008"/>
                  <a:gd name="connsiteY53" fmla="*/ 5800535 h 5800534"/>
                  <a:gd name="connsiteX54" fmla="*/ 2324481 w 5402008"/>
                  <a:gd name="connsiteY54" fmla="*/ 5800535 h 5800534"/>
                  <a:gd name="connsiteX55" fmla="*/ 2344198 w 5402008"/>
                  <a:gd name="connsiteY55" fmla="*/ 5780818 h 5800534"/>
                  <a:gd name="connsiteX56" fmla="*/ 2324481 w 5402008"/>
                  <a:gd name="connsiteY56" fmla="*/ 5761101 h 5800534"/>
                  <a:gd name="connsiteX57" fmla="*/ 2564797 w 5402008"/>
                  <a:gd name="connsiteY57" fmla="*/ 19717 h 5800534"/>
                  <a:gd name="connsiteX58" fmla="*/ 2545080 w 5402008"/>
                  <a:gd name="connsiteY58" fmla="*/ 0 h 5800534"/>
                  <a:gd name="connsiteX59" fmla="*/ 2367915 w 5402008"/>
                  <a:gd name="connsiteY59" fmla="*/ 0 h 5800534"/>
                  <a:gd name="connsiteX60" fmla="*/ 2348198 w 5402008"/>
                  <a:gd name="connsiteY60" fmla="*/ 19717 h 5800534"/>
                  <a:gd name="connsiteX61" fmla="*/ 2367915 w 5402008"/>
                  <a:gd name="connsiteY61" fmla="*/ 39434 h 5800534"/>
                  <a:gd name="connsiteX62" fmla="*/ 2545080 w 5402008"/>
                  <a:gd name="connsiteY62" fmla="*/ 39434 h 5800534"/>
                  <a:gd name="connsiteX63" fmla="*/ 2564797 w 5402008"/>
                  <a:gd name="connsiteY63" fmla="*/ 19717 h 5800534"/>
                  <a:gd name="connsiteX64" fmla="*/ 129254 w 5402008"/>
                  <a:gd name="connsiteY64" fmla="*/ 5506403 h 5800534"/>
                  <a:gd name="connsiteX65" fmla="*/ 101918 w 5402008"/>
                  <a:gd name="connsiteY65" fmla="*/ 5500592 h 5800534"/>
                  <a:gd name="connsiteX66" fmla="*/ 96107 w 5402008"/>
                  <a:gd name="connsiteY66" fmla="*/ 5527930 h 5800534"/>
                  <a:gd name="connsiteX67" fmla="*/ 217551 w 5402008"/>
                  <a:gd name="connsiteY67" fmla="*/ 5664042 h 5800534"/>
                  <a:gd name="connsiteX68" fmla="*/ 230124 w 5402008"/>
                  <a:gd name="connsiteY68" fmla="*/ 5668613 h 5800534"/>
                  <a:gd name="connsiteX69" fmla="*/ 245364 w 5402008"/>
                  <a:gd name="connsiteY69" fmla="*/ 5661470 h 5800534"/>
                  <a:gd name="connsiteX70" fmla="*/ 242697 w 5402008"/>
                  <a:gd name="connsiteY70" fmla="*/ 5633657 h 5800534"/>
                  <a:gd name="connsiteX71" fmla="*/ 129254 w 5402008"/>
                  <a:gd name="connsiteY71" fmla="*/ 5506403 h 5800534"/>
                  <a:gd name="connsiteX72" fmla="*/ 2210562 w 5402008"/>
                  <a:gd name="connsiteY72" fmla="*/ 19717 h 5800534"/>
                  <a:gd name="connsiteX73" fmla="*/ 2190845 w 5402008"/>
                  <a:gd name="connsiteY73" fmla="*/ 0 h 5800534"/>
                  <a:gd name="connsiteX74" fmla="*/ 2013776 w 5402008"/>
                  <a:gd name="connsiteY74" fmla="*/ 0 h 5800534"/>
                  <a:gd name="connsiteX75" fmla="*/ 1994059 w 5402008"/>
                  <a:gd name="connsiteY75" fmla="*/ 19717 h 5800534"/>
                  <a:gd name="connsiteX76" fmla="*/ 2013776 w 5402008"/>
                  <a:gd name="connsiteY76" fmla="*/ 39434 h 5800534"/>
                  <a:gd name="connsiteX77" fmla="*/ 2190845 w 5402008"/>
                  <a:gd name="connsiteY77" fmla="*/ 39434 h 5800534"/>
                  <a:gd name="connsiteX78" fmla="*/ 2210562 w 5402008"/>
                  <a:gd name="connsiteY78" fmla="*/ 19717 h 5800534"/>
                  <a:gd name="connsiteX79" fmla="*/ 1970246 w 5402008"/>
                  <a:gd name="connsiteY79" fmla="*/ 5761101 h 5800534"/>
                  <a:gd name="connsiteX80" fmla="*/ 1793177 w 5402008"/>
                  <a:gd name="connsiteY80" fmla="*/ 5761101 h 5800534"/>
                  <a:gd name="connsiteX81" fmla="*/ 1773460 w 5402008"/>
                  <a:gd name="connsiteY81" fmla="*/ 5780818 h 5800534"/>
                  <a:gd name="connsiteX82" fmla="*/ 1793177 w 5402008"/>
                  <a:gd name="connsiteY82" fmla="*/ 5800535 h 5800534"/>
                  <a:gd name="connsiteX83" fmla="*/ 1970246 w 5402008"/>
                  <a:gd name="connsiteY83" fmla="*/ 5800535 h 5800534"/>
                  <a:gd name="connsiteX84" fmla="*/ 1989963 w 5402008"/>
                  <a:gd name="connsiteY84" fmla="*/ 5780818 h 5800534"/>
                  <a:gd name="connsiteX85" fmla="*/ 1970246 w 5402008"/>
                  <a:gd name="connsiteY85" fmla="*/ 5761101 h 5800534"/>
                  <a:gd name="connsiteX86" fmla="*/ 1616012 w 5402008"/>
                  <a:gd name="connsiteY86" fmla="*/ 5761101 h 5800534"/>
                  <a:gd name="connsiteX87" fmla="*/ 1438942 w 5402008"/>
                  <a:gd name="connsiteY87" fmla="*/ 5761101 h 5800534"/>
                  <a:gd name="connsiteX88" fmla="*/ 1419225 w 5402008"/>
                  <a:gd name="connsiteY88" fmla="*/ 5780818 h 5800534"/>
                  <a:gd name="connsiteX89" fmla="*/ 1438942 w 5402008"/>
                  <a:gd name="connsiteY89" fmla="*/ 5800535 h 5800534"/>
                  <a:gd name="connsiteX90" fmla="*/ 1616012 w 5402008"/>
                  <a:gd name="connsiteY90" fmla="*/ 5800535 h 5800534"/>
                  <a:gd name="connsiteX91" fmla="*/ 1635728 w 5402008"/>
                  <a:gd name="connsiteY91" fmla="*/ 5780818 h 5800534"/>
                  <a:gd name="connsiteX92" fmla="*/ 1616012 w 5402008"/>
                  <a:gd name="connsiteY92" fmla="*/ 5761101 h 5800534"/>
                  <a:gd name="connsiteX93" fmla="*/ 1856327 w 5402008"/>
                  <a:gd name="connsiteY93" fmla="*/ 19717 h 5800534"/>
                  <a:gd name="connsiteX94" fmla="*/ 1836611 w 5402008"/>
                  <a:gd name="connsiteY94" fmla="*/ 0 h 5800534"/>
                  <a:gd name="connsiteX95" fmla="*/ 1659541 w 5402008"/>
                  <a:gd name="connsiteY95" fmla="*/ 0 h 5800534"/>
                  <a:gd name="connsiteX96" fmla="*/ 1639824 w 5402008"/>
                  <a:gd name="connsiteY96" fmla="*/ 19717 h 5800534"/>
                  <a:gd name="connsiteX97" fmla="*/ 1659541 w 5402008"/>
                  <a:gd name="connsiteY97" fmla="*/ 39434 h 5800534"/>
                  <a:gd name="connsiteX98" fmla="*/ 1836611 w 5402008"/>
                  <a:gd name="connsiteY98" fmla="*/ 39434 h 5800534"/>
                  <a:gd name="connsiteX99" fmla="*/ 1856327 w 5402008"/>
                  <a:gd name="connsiteY99" fmla="*/ 19717 h 5800534"/>
                  <a:gd name="connsiteX100" fmla="*/ 554927 w 5402008"/>
                  <a:gd name="connsiteY100" fmla="*/ 5759482 h 5800534"/>
                  <a:gd name="connsiteX101" fmla="*/ 389096 w 5402008"/>
                  <a:gd name="connsiteY101" fmla="*/ 5720715 h 5800534"/>
                  <a:gd name="connsiteX102" fmla="*/ 363379 w 5402008"/>
                  <a:gd name="connsiteY102" fmla="*/ 5731669 h 5800534"/>
                  <a:gd name="connsiteX103" fmla="*/ 374333 w 5402008"/>
                  <a:gd name="connsiteY103" fmla="*/ 5757386 h 5800534"/>
                  <a:gd name="connsiteX104" fmla="*/ 551974 w 5402008"/>
                  <a:gd name="connsiteY104" fmla="*/ 5798915 h 5800534"/>
                  <a:gd name="connsiteX105" fmla="*/ 553498 w 5402008"/>
                  <a:gd name="connsiteY105" fmla="*/ 5799011 h 5800534"/>
                  <a:gd name="connsiteX106" fmla="*/ 573215 w 5402008"/>
                  <a:gd name="connsiteY106" fmla="*/ 5780723 h 5800534"/>
                  <a:gd name="connsiteX107" fmla="*/ 554927 w 5402008"/>
                  <a:gd name="connsiteY107" fmla="*/ 5759482 h 5800534"/>
                  <a:gd name="connsiteX108" fmla="*/ 19717 w 5402008"/>
                  <a:gd name="connsiteY108" fmla="*/ 2189893 h 5800534"/>
                  <a:gd name="connsiteX109" fmla="*/ 39434 w 5402008"/>
                  <a:gd name="connsiteY109" fmla="*/ 2170176 h 5800534"/>
                  <a:gd name="connsiteX110" fmla="*/ 39434 w 5402008"/>
                  <a:gd name="connsiteY110" fmla="*/ 1993011 h 5800534"/>
                  <a:gd name="connsiteX111" fmla="*/ 19717 w 5402008"/>
                  <a:gd name="connsiteY111" fmla="*/ 1973294 h 5800534"/>
                  <a:gd name="connsiteX112" fmla="*/ 0 w 5402008"/>
                  <a:gd name="connsiteY112" fmla="*/ 1993011 h 5800534"/>
                  <a:gd name="connsiteX113" fmla="*/ 0 w 5402008"/>
                  <a:gd name="connsiteY113" fmla="*/ 2170176 h 5800534"/>
                  <a:gd name="connsiteX114" fmla="*/ 19717 w 5402008"/>
                  <a:gd name="connsiteY114" fmla="*/ 2189893 h 5800534"/>
                  <a:gd name="connsiteX115" fmla="*/ 19717 w 5402008"/>
                  <a:gd name="connsiteY115" fmla="*/ 2544127 h 5800534"/>
                  <a:gd name="connsiteX116" fmla="*/ 39434 w 5402008"/>
                  <a:gd name="connsiteY116" fmla="*/ 2524411 h 5800534"/>
                  <a:gd name="connsiteX117" fmla="*/ 39434 w 5402008"/>
                  <a:gd name="connsiteY117" fmla="*/ 2347341 h 5800534"/>
                  <a:gd name="connsiteX118" fmla="*/ 19717 w 5402008"/>
                  <a:gd name="connsiteY118" fmla="*/ 2327624 h 5800534"/>
                  <a:gd name="connsiteX119" fmla="*/ 0 w 5402008"/>
                  <a:gd name="connsiteY119" fmla="*/ 2347341 h 5800534"/>
                  <a:gd name="connsiteX120" fmla="*/ 0 w 5402008"/>
                  <a:gd name="connsiteY120" fmla="*/ 2524411 h 5800534"/>
                  <a:gd name="connsiteX121" fmla="*/ 19717 w 5402008"/>
                  <a:gd name="connsiteY121" fmla="*/ 2544127 h 5800534"/>
                  <a:gd name="connsiteX122" fmla="*/ 19717 w 5402008"/>
                  <a:gd name="connsiteY122" fmla="*/ 1835658 h 5800534"/>
                  <a:gd name="connsiteX123" fmla="*/ 39434 w 5402008"/>
                  <a:gd name="connsiteY123" fmla="*/ 1815941 h 5800534"/>
                  <a:gd name="connsiteX124" fmla="*/ 39434 w 5402008"/>
                  <a:gd name="connsiteY124" fmla="*/ 1638776 h 5800534"/>
                  <a:gd name="connsiteX125" fmla="*/ 19717 w 5402008"/>
                  <a:gd name="connsiteY125" fmla="*/ 1619060 h 5800534"/>
                  <a:gd name="connsiteX126" fmla="*/ 0 w 5402008"/>
                  <a:gd name="connsiteY126" fmla="*/ 1638776 h 5800534"/>
                  <a:gd name="connsiteX127" fmla="*/ 0 w 5402008"/>
                  <a:gd name="connsiteY127" fmla="*/ 1815941 h 5800534"/>
                  <a:gd name="connsiteX128" fmla="*/ 19717 w 5402008"/>
                  <a:gd name="connsiteY128" fmla="*/ 1835658 h 5800534"/>
                  <a:gd name="connsiteX129" fmla="*/ 19717 w 5402008"/>
                  <a:gd name="connsiteY129" fmla="*/ 772954 h 5800534"/>
                  <a:gd name="connsiteX130" fmla="*/ 39434 w 5402008"/>
                  <a:gd name="connsiteY130" fmla="*/ 753237 h 5800534"/>
                  <a:gd name="connsiteX131" fmla="*/ 39434 w 5402008"/>
                  <a:gd name="connsiteY131" fmla="*/ 597789 h 5800534"/>
                  <a:gd name="connsiteX132" fmla="*/ 39815 w 5402008"/>
                  <a:gd name="connsiteY132" fmla="*/ 576739 h 5800534"/>
                  <a:gd name="connsiteX133" fmla="*/ 20765 w 5402008"/>
                  <a:gd name="connsiteY133" fmla="*/ 556260 h 5800534"/>
                  <a:gd name="connsiteX134" fmla="*/ 286 w 5402008"/>
                  <a:gd name="connsiteY134" fmla="*/ 575310 h 5800534"/>
                  <a:gd name="connsiteX135" fmla="*/ 0 w 5402008"/>
                  <a:gd name="connsiteY135" fmla="*/ 597789 h 5800534"/>
                  <a:gd name="connsiteX136" fmla="*/ 0 w 5402008"/>
                  <a:gd name="connsiteY136" fmla="*/ 753142 h 5800534"/>
                  <a:gd name="connsiteX137" fmla="*/ 19717 w 5402008"/>
                  <a:gd name="connsiteY137" fmla="*/ 772954 h 5800534"/>
                  <a:gd name="connsiteX138" fmla="*/ 19717 w 5402008"/>
                  <a:gd name="connsiteY138" fmla="*/ 1481423 h 5800534"/>
                  <a:gd name="connsiteX139" fmla="*/ 39434 w 5402008"/>
                  <a:gd name="connsiteY139" fmla="*/ 1461707 h 5800534"/>
                  <a:gd name="connsiteX140" fmla="*/ 39434 w 5402008"/>
                  <a:gd name="connsiteY140" fmla="*/ 1284637 h 5800534"/>
                  <a:gd name="connsiteX141" fmla="*/ 19717 w 5402008"/>
                  <a:gd name="connsiteY141" fmla="*/ 1264920 h 5800534"/>
                  <a:gd name="connsiteX142" fmla="*/ 0 w 5402008"/>
                  <a:gd name="connsiteY142" fmla="*/ 1284637 h 5800534"/>
                  <a:gd name="connsiteX143" fmla="*/ 0 w 5402008"/>
                  <a:gd name="connsiteY143" fmla="*/ 1461707 h 5800534"/>
                  <a:gd name="connsiteX144" fmla="*/ 19717 w 5402008"/>
                  <a:gd name="connsiteY144" fmla="*/ 1481423 h 5800534"/>
                  <a:gd name="connsiteX145" fmla="*/ 19717 w 5402008"/>
                  <a:gd name="connsiteY145" fmla="*/ 2898362 h 5800534"/>
                  <a:gd name="connsiteX146" fmla="*/ 39434 w 5402008"/>
                  <a:gd name="connsiteY146" fmla="*/ 2878646 h 5800534"/>
                  <a:gd name="connsiteX147" fmla="*/ 39434 w 5402008"/>
                  <a:gd name="connsiteY147" fmla="*/ 2701481 h 5800534"/>
                  <a:gd name="connsiteX148" fmla="*/ 19717 w 5402008"/>
                  <a:gd name="connsiteY148" fmla="*/ 2681764 h 5800534"/>
                  <a:gd name="connsiteX149" fmla="*/ 0 w 5402008"/>
                  <a:gd name="connsiteY149" fmla="*/ 2701481 h 5800534"/>
                  <a:gd name="connsiteX150" fmla="*/ 0 w 5402008"/>
                  <a:gd name="connsiteY150" fmla="*/ 2878646 h 5800534"/>
                  <a:gd name="connsiteX151" fmla="*/ 19717 w 5402008"/>
                  <a:gd name="connsiteY151" fmla="*/ 2898362 h 5800534"/>
                  <a:gd name="connsiteX152" fmla="*/ 19717 w 5402008"/>
                  <a:gd name="connsiteY152" fmla="*/ 1127189 h 5800534"/>
                  <a:gd name="connsiteX153" fmla="*/ 39434 w 5402008"/>
                  <a:gd name="connsiteY153" fmla="*/ 1107472 h 5800534"/>
                  <a:gd name="connsiteX154" fmla="*/ 39434 w 5402008"/>
                  <a:gd name="connsiteY154" fmla="*/ 930307 h 5800534"/>
                  <a:gd name="connsiteX155" fmla="*/ 19717 w 5402008"/>
                  <a:gd name="connsiteY155" fmla="*/ 910590 h 5800534"/>
                  <a:gd name="connsiteX156" fmla="*/ 0 w 5402008"/>
                  <a:gd name="connsiteY156" fmla="*/ 930307 h 5800534"/>
                  <a:gd name="connsiteX157" fmla="*/ 0 w 5402008"/>
                  <a:gd name="connsiteY157" fmla="*/ 1107472 h 5800534"/>
                  <a:gd name="connsiteX158" fmla="*/ 19717 w 5402008"/>
                  <a:gd name="connsiteY158" fmla="*/ 1127189 h 5800534"/>
                  <a:gd name="connsiteX159" fmla="*/ 19717 w 5402008"/>
                  <a:gd name="connsiteY159" fmla="*/ 3961067 h 5800534"/>
                  <a:gd name="connsiteX160" fmla="*/ 39434 w 5402008"/>
                  <a:gd name="connsiteY160" fmla="*/ 3941350 h 5800534"/>
                  <a:gd name="connsiteX161" fmla="*/ 39434 w 5402008"/>
                  <a:gd name="connsiteY161" fmla="*/ 3764185 h 5800534"/>
                  <a:gd name="connsiteX162" fmla="*/ 19717 w 5402008"/>
                  <a:gd name="connsiteY162" fmla="*/ 3744468 h 5800534"/>
                  <a:gd name="connsiteX163" fmla="*/ 0 w 5402008"/>
                  <a:gd name="connsiteY163" fmla="*/ 3764185 h 5800534"/>
                  <a:gd name="connsiteX164" fmla="*/ 0 w 5402008"/>
                  <a:gd name="connsiteY164" fmla="*/ 3941350 h 5800534"/>
                  <a:gd name="connsiteX165" fmla="*/ 19717 w 5402008"/>
                  <a:gd name="connsiteY165" fmla="*/ 3961067 h 5800534"/>
                  <a:gd name="connsiteX166" fmla="*/ 19717 w 5402008"/>
                  <a:gd name="connsiteY166" fmla="*/ 5023771 h 5800534"/>
                  <a:gd name="connsiteX167" fmla="*/ 39434 w 5402008"/>
                  <a:gd name="connsiteY167" fmla="*/ 5004055 h 5800534"/>
                  <a:gd name="connsiteX168" fmla="*/ 39434 w 5402008"/>
                  <a:gd name="connsiteY168" fmla="*/ 4826889 h 5800534"/>
                  <a:gd name="connsiteX169" fmla="*/ 19717 w 5402008"/>
                  <a:gd name="connsiteY169" fmla="*/ 4807173 h 5800534"/>
                  <a:gd name="connsiteX170" fmla="*/ 0 w 5402008"/>
                  <a:gd name="connsiteY170" fmla="*/ 4826889 h 5800534"/>
                  <a:gd name="connsiteX171" fmla="*/ 0 w 5402008"/>
                  <a:gd name="connsiteY171" fmla="*/ 5004055 h 5800534"/>
                  <a:gd name="connsiteX172" fmla="*/ 19717 w 5402008"/>
                  <a:gd name="connsiteY172" fmla="*/ 5023771 h 5800534"/>
                  <a:gd name="connsiteX173" fmla="*/ 19717 w 5402008"/>
                  <a:gd name="connsiteY173" fmla="*/ 4669536 h 5800534"/>
                  <a:gd name="connsiteX174" fmla="*/ 39434 w 5402008"/>
                  <a:gd name="connsiteY174" fmla="*/ 4649819 h 5800534"/>
                  <a:gd name="connsiteX175" fmla="*/ 39434 w 5402008"/>
                  <a:gd name="connsiteY175" fmla="*/ 4472654 h 5800534"/>
                  <a:gd name="connsiteX176" fmla="*/ 19717 w 5402008"/>
                  <a:gd name="connsiteY176" fmla="*/ 4452938 h 5800534"/>
                  <a:gd name="connsiteX177" fmla="*/ 0 w 5402008"/>
                  <a:gd name="connsiteY177" fmla="*/ 4472654 h 5800534"/>
                  <a:gd name="connsiteX178" fmla="*/ 0 w 5402008"/>
                  <a:gd name="connsiteY178" fmla="*/ 4649819 h 5800534"/>
                  <a:gd name="connsiteX179" fmla="*/ 19717 w 5402008"/>
                  <a:gd name="connsiteY179" fmla="*/ 4669536 h 5800534"/>
                  <a:gd name="connsiteX180" fmla="*/ 39529 w 5402008"/>
                  <a:gd name="connsiteY180" fmla="*/ 5202746 h 5800534"/>
                  <a:gd name="connsiteX181" fmla="*/ 39529 w 5402008"/>
                  <a:gd name="connsiteY181" fmla="*/ 5181124 h 5800534"/>
                  <a:gd name="connsiteX182" fmla="*/ 19812 w 5402008"/>
                  <a:gd name="connsiteY182" fmla="*/ 5161407 h 5800534"/>
                  <a:gd name="connsiteX183" fmla="*/ 95 w 5402008"/>
                  <a:gd name="connsiteY183" fmla="*/ 5181124 h 5800534"/>
                  <a:gd name="connsiteX184" fmla="*/ 95 w 5402008"/>
                  <a:gd name="connsiteY184" fmla="*/ 5202746 h 5800534"/>
                  <a:gd name="connsiteX185" fmla="*/ 21431 w 5402008"/>
                  <a:gd name="connsiteY185" fmla="*/ 5361527 h 5800534"/>
                  <a:gd name="connsiteX186" fmla="*/ 40481 w 5402008"/>
                  <a:gd name="connsiteY186" fmla="*/ 5376101 h 5800534"/>
                  <a:gd name="connsiteX187" fmla="*/ 45720 w 5402008"/>
                  <a:gd name="connsiteY187" fmla="*/ 5375339 h 5800534"/>
                  <a:gd name="connsiteX188" fmla="*/ 59531 w 5402008"/>
                  <a:gd name="connsiteY188" fmla="*/ 5351050 h 5800534"/>
                  <a:gd name="connsiteX189" fmla="*/ 39529 w 5402008"/>
                  <a:gd name="connsiteY189" fmla="*/ 5202746 h 5800534"/>
                  <a:gd name="connsiteX190" fmla="*/ 149638 w 5402008"/>
                  <a:gd name="connsiteY190" fmla="*/ 232124 h 5800534"/>
                  <a:gd name="connsiteX191" fmla="*/ 121920 w 5402008"/>
                  <a:gd name="connsiteY191" fmla="*/ 235934 h 5800534"/>
                  <a:gd name="connsiteX192" fmla="*/ 34862 w 5402008"/>
                  <a:gd name="connsiteY192" fmla="*/ 396240 h 5800534"/>
                  <a:gd name="connsiteX193" fmla="*/ 46768 w 5402008"/>
                  <a:gd name="connsiteY193" fmla="*/ 421481 h 5800534"/>
                  <a:gd name="connsiteX194" fmla="*/ 53435 w 5402008"/>
                  <a:gd name="connsiteY194" fmla="*/ 422624 h 5800534"/>
                  <a:gd name="connsiteX195" fmla="*/ 72009 w 5402008"/>
                  <a:gd name="connsiteY195" fmla="*/ 409480 h 5800534"/>
                  <a:gd name="connsiteX196" fmla="*/ 153353 w 5402008"/>
                  <a:gd name="connsiteY196" fmla="*/ 259842 h 5800534"/>
                  <a:gd name="connsiteX197" fmla="*/ 149638 w 5402008"/>
                  <a:gd name="connsiteY197" fmla="*/ 232124 h 5800534"/>
                  <a:gd name="connsiteX198" fmla="*/ 19717 w 5402008"/>
                  <a:gd name="connsiteY198" fmla="*/ 4315301 h 5800534"/>
                  <a:gd name="connsiteX199" fmla="*/ 39434 w 5402008"/>
                  <a:gd name="connsiteY199" fmla="*/ 4295585 h 5800534"/>
                  <a:gd name="connsiteX200" fmla="*/ 39434 w 5402008"/>
                  <a:gd name="connsiteY200" fmla="*/ 4118515 h 5800534"/>
                  <a:gd name="connsiteX201" fmla="*/ 19717 w 5402008"/>
                  <a:gd name="connsiteY201" fmla="*/ 4098798 h 5800534"/>
                  <a:gd name="connsiteX202" fmla="*/ 0 w 5402008"/>
                  <a:gd name="connsiteY202" fmla="*/ 4118515 h 5800534"/>
                  <a:gd name="connsiteX203" fmla="*/ 0 w 5402008"/>
                  <a:gd name="connsiteY203" fmla="*/ 4295585 h 5800534"/>
                  <a:gd name="connsiteX204" fmla="*/ 19717 w 5402008"/>
                  <a:gd name="connsiteY204" fmla="*/ 4315301 h 5800534"/>
                  <a:gd name="connsiteX205" fmla="*/ 19717 w 5402008"/>
                  <a:gd name="connsiteY205" fmla="*/ 3606832 h 5800534"/>
                  <a:gd name="connsiteX206" fmla="*/ 39434 w 5402008"/>
                  <a:gd name="connsiteY206" fmla="*/ 3587020 h 5800534"/>
                  <a:gd name="connsiteX207" fmla="*/ 39434 w 5402008"/>
                  <a:gd name="connsiteY207" fmla="*/ 3409855 h 5800534"/>
                  <a:gd name="connsiteX208" fmla="*/ 19717 w 5402008"/>
                  <a:gd name="connsiteY208" fmla="*/ 3390138 h 5800534"/>
                  <a:gd name="connsiteX209" fmla="*/ 0 w 5402008"/>
                  <a:gd name="connsiteY209" fmla="*/ 3409855 h 5800534"/>
                  <a:gd name="connsiteX210" fmla="*/ 0 w 5402008"/>
                  <a:gd name="connsiteY210" fmla="*/ 3587020 h 5800534"/>
                  <a:gd name="connsiteX211" fmla="*/ 19717 w 5402008"/>
                  <a:gd name="connsiteY211" fmla="*/ 3606832 h 5800534"/>
                  <a:gd name="connsiteX212" fmla="*/ 19717 w 5402008"/>
                  <a:gd name="connsiteY212" fmla="*/ 3252597 h 5800534"/>
                  <a:gd name="connsiteX213" fmla="*/ 39434 w 5402008"/>
                  <a:gd name="connsiteY213" fmla="*/ 3232881 h 5800534"/>
                  <a:gd name="connsiteX214" fmla="*/ 39434 w 5402008"/>
                  <a:gd name="connsiteY214" fmla="*/ 3055715 h 5800534"/>
                  <a:gd name="connsiteX215" fmla="*/ 19717 w 5402008"/>
                  <a:gd name="connsiteY215" fmla="*/ 3035999 h 5800534"/>
                  <a:gd name="connsiteX216" fmla="*/ 0 w 5402008"/>
                  <a:gd name="connsiteY216" fmla="*/ 3055715 h 5800534"/>
                  <a:gd name="connsiteX217" fmla="*/ 0 w 5402008"/>
                  <a:gd name="connsiteY217" fmla="*/ 3232881 h 5800534"/>
                  <a:gd name="connsiteX218" fmla="*/ 19717 w 5402008"/>
                  <a:gd name="connsiteY218" fmla="*/ 3252597 h 5800534"/>
                  <a:gd name="connsiteX219" fmla="*/ 5382292 w 5402008"/>
                  <a:gd name="connsiteY219" fmla="*/ 3609594 h 5800534"/>
                  <a:gd name="connsiteX220" fmla="*/ 5362575 w 5402008"/>
                  <a:gd name="connsiteY220" fmla="*/ 3629311 h 5800534"/>
                  <a:gd name="connsiteX221" fmla="*/ 5362575 w 5402008"/>
                  <a:gd name="connsiteY221" fmla="*/ 3806381 h 5800534"/>
                  <a:gd name="connsiteX222" fmla="*/ 5382292 w 5402008"/>
                  <a:gd name="connsiteY222" fmla="*/ 3826098 h 5800534"/>
                  <a:gd name="connsiteX223" fmla="*/ 5402009 w 5402008"/>
                  <a:gd name="connsiteY223" fmla="*/ 3806381 h 5800534"/>
                  <a:gd name="connsiteX224" fmla="*/ 5402009 w 5402008"/>
                  <a:gd name="connsiteY224" fmla="*/ 3629311 h 5800534"/>
                  <a:gd name="connsiteX225" fmla="*/ 5382292 w 5402008"/>
                  <a:gd name="connsiteY225" fmla="*/ 3609594 h 5800534"/>
                  <a:gd name="connsiteX226" fmla="*/ 2919032 w 5402008"/>
                  <a:gd name="connsiteY226" fmla="*/ 19717 h 5800534"/>
                  <a:gd name="connsiteX227" fmla="*/ 2899315 w 5402008"/>
                  <a:gd name="connsiteY227" fmla="*/ 0 h 5800534"/>
                  <a:gd name="connsiteX228" fmla="*/ 2722245 w 5402008"/>
                  <a:gd name="connsiteY228" fmla="*/ 0 h 5800534"/>
                  <a:gd name="connsiteX229" fmla="*/ 2702528 w 5402008"/>
                  <a:gd name="connsiteY229" fmla="*/ 19717 h 5800534"/>
                  <a:gd name="connsiteX230" fmla="*/ 2722245 w 5402008"/>
                  <a:gd name="connsiteY230" fmla="*/ 39434 h 5800534"/>
                  <a:gd name="connsiteX231" fmla="*/ 2899315 w 5402008"/>
                  <a:gd name="connsiteY231" fmla="*/ 39434 h 5800534"/>
                  <a:gd name="connsiteX232" fmla="*/ 2919032 w 5402008"/>
                  <a:gd name="connsiteY232" fmla="*/ 19717 h 5800534"/>
                  <a:gd name="connsiteX233" fmla="*/ 5382292 w 5402008"/>
                  <a:gd name="connsiteY233" fmla="*/ 3963829 h 5800534"/>
                  <a:gd name="connsiteX234" fmla="*/ 5362575 w 5402008"/>
                  <a:gd name="connsiteY234" fmla="*/ 3983546 h 5800534"/>
                  <a:gd name="connsiteX235" fmla="*/ 5362575 w 5402008"/>
                  <a:gd name="connsiteY235" fmla="*/ 4160711 h 5800534"/>
                  <a:gd name="connsiteX236" fmla="*/ 5382292 w 5402008"/>
                  <a:gd name="connsiteY236" fmla="*/ 4180427 h 5800534"/>
                  <a:gd name="connsiteX237" fmla="*/ 5402009 w 5402008"/>
                  <a:gd name="connsiteY237" fmla="*/ 4160711 h 5800534"/>
                  <a:gd name="connsiteX238" fmla="*/ 5402009 w 5402008"/>
                  <a:gd name="connsiteY238" fmla="*/ 3983546 h 5800534"/>
                  <a:gd name="connsiteX239" fmla="*/ 5382292 w 5402008"/>
                  <a:gd name="connsiteY239" fmla="*/ 3963829 h 5800534"/>
                  <a:gd name="connsiteX240" fmla="*/ 5382292 w 5402008"/>
                  <a:gd name="connsiteY240" fmla="*/ 4318064 h 5800534"/>
                  <a:gd name="connsiteX241" fmla="*/ 5362575 w 5402008"/>
                  <a:gd name="connsiteY241" fmla="*/ 4337781 h 5800534"/>
                  <a:gd name="connsiteX242" fmla="*/ 5362575 w 5402008"/>
                  <a:gd name="connsiteY242" fmla="*/ 4514945 h 5800534"/>
                  <a:gd name="connsiteX243" fmla="*/ 5382292 w 5402008"/>
                  <a:gd name="connsiteY243" fmla="*/ 4534662 h 5800534"/>
                  <a:gd name="connsiteX244" fmla="*/ 5402009 w 5402008"/>
                  <a:gd name="connsiteY244" fmla="*/ 4514945 h 5800534"/>
                  <a:gd name="connsiteX245" fmla="*/ 5402009 w 5402008"/>
                  <a:gd name="connsiteY245" fmla="*/ 4337781 h 5800534"/>
                  <a:gd name="connsiteX246" fmla="*/ 5382292 w 5402008"/>
                  <a:gd name="connsiteY246" fmla="*/ 4318064 h 5800534"/>
                  <a:gd name="connsiteX247" fmla="*/ 5382292 w 5402008"/>
                  <a:gd name="connsiteY247" fmla="*/ 5026533 h 5800534"/>
                  <a:gd name="connsiteX248" fmla="*/ 5362575 w 5402008"/>
                  <a:gd name="connsiteY248" fmla="*/ 5046250 h 5800534"/>
                  <a:gd name="connsiteX249" fmla="*/ 5362575 w 5402008"/>
                  <a:gd name="connsiteY249" fmla="*/ 5202746 h 5800534"/>
                  <a:gd name="connsiteX250" fmla="*/ 5362194 w 5402008"/>
                  <a:gd name="connsiteY250" fmla="*/ 5222748 h 5800534"/>
                  <a:gd name="connsiteX251" fmla="*/ 5381244 w 5402008"/>
                  <a:gd name="connsiteY251" fmla="*/ 5243227 h 5800534"/>
                  <a:gd name="connsiteX252" fmla="*/ 5381911 w 5402008"/>
                  <a:gd name="connsiteY252" fmla="*/ 5243227 h 5800534"/>
                  <a:gd name="connsiteX253" fmla="*/ 5401628 w 5402008"/>
                  <a:gd name="connsiteY253" fmla="*/ 5224177 h 5800534"/>
                  <a:gd name="connsiteX254" fmla="*/ 5402009 w 5402008"/>
                  <a:gd name="connsiteY254" fmla="*/ 5202841 h 5800534"/>
                  <a:gd name="connsiteX255" fmla="*/ 5402009 w 5402008"/>
                  <a:gd name="connsiteY255" fmla="*/ 5046346 h 5800534"/>
                  <a:gd name="connsiteX256" fmla="*/ 5382292 w 5402008"/>
                  <a:gd name="connsiteY256" fmla="*/ 5026533 h 5800534"/>
                  <a:gd name="connsiteX257" fmla="*/ 5382292 w 5402008"/>
                  <a:gd name="connsiteY257" fmla="*/ 4672299 h 5800534"/>
                  <a:gd name="connsiteX258" fmla="*/ 5362575 w 5402008"/>
                  <a:gd name="connsiteY258" fmla="*/ 4692015 h 5800534"/>
                  <a:gd name="connsiteX259" fmla="*/ 5362575 w 5402008"/>
                  <a:gd name="connsiteY259" fmla="*/ 4869085 h 5800534"/>
                  <a:gd name="connsiteX260" fmla="*/ 5382292 w 5402008"/>
                  <a:gd name="connsiteY260" fmla="*/ 4888802 h 5800534"/>
                  <a:gd name="connsiteX261" fmla="*/ 5402009 w 5402008"/>
                  <a:gd name="connsiteY261" fmla="*/ 4869085 h 5800534"/>
                  <a:gd name="connsiteX262" fmla="*/ 5402009 w 5402008"/>
                  <a:gd name="connsiteY262" fmla="*/ 4692015 h 5800534"/>
                  <a:gd name="connsiteX263" fmla="*/ 5382292 w 5402008"/>
                  <a:gd name="connsiteY263" fmla="*/ 4672299 h 5800534"/>
                  <a:gd name="connsiteX264" fmla="*/ 5382292 w 5402008"/>
                  <a:gd name="connsiteY264" fmla="*/ 2901125 h 5800534"/>
                  <a:gd name="connsiteX265" fmla="*/ 5362575 w 5402008"/>
                  <a:gd name="connsiteY265" fmla="*/ 2920841 h 5800534"/>
                  <a:gd name="connsiteX266" fmla="*/ 5362575 w 5402008"/>
                  <a:gd name="connsiteY266" fmla="*/ 3097911 h 5800534"/>
                  <a:gd name="connsiteX267" fmla="*/ 5382292 w 5402008"/>
                  <a:gd name="connsiteY267" fmla="*/ 3117628 h 5800534"/>
                  <a:gd name="connsiteX268" fmla="*/ 5402009 w 5402008"/>
                  <a:gd name="connsiteY268" fmla="*/ 3097911 h 5800534"/>
                  <a:gd name="connsiteX269" fmla="*/ 5402009 w 5402008"/>
                  <a:gd name="connsiteY269" fmla="*/ 2920841 h 5800534"/>
                  <a:gd name="connsiteX270" fmla="*/ 5382292 w 5402008"/>
                  <a:gd name="connsiteY270" fmla="*/ 2901125 h 5800534"/>
                  <a:gd name="connsiteX271" fmla="*/ 5382292 w 5402008"/>
                  <a:gd name="connsiteY271" fmla="*/ 2546890 h 5800534"/>
                  <a:gd name="connsiteX272" fmla="*/ 5362575 w 5402008"/>
                  <a:gd name="connsiteY272" fmla="*/ 2566607 h 5800534"/>
                  <a:gd name="connsiteX273" fmla="*/ 5362575 w 5402008"/>
                  <a:gd name="connsiteY273" fmla="*/ 2743772 h 5800534"/>
                  <a:gd name="connsiteX274" fmla="*/ 5382292 w 5402008"/>
                  <a:gd name="connsiteY274" fmla="*/ 2763488 h 5800534"/>
                  <a:gd name="connsiteX275" fmla="*/ 5402009 w 5402008"/>
                  <a:gd name="connsiteY275" fmla="*/ 2743772 h 5800534"/>
                  <a:gd name="connsiteX276" fmla="*/ 5402009 w 5402008"/>
                  <a:gd name="connsiteY276" fmla="*/ 2566607 h 5800534"/>
                  <a:gd name="connsiteX277" fmla="*/ 5382292 w 5402008"/>
                  <a:gd name="connsiteY277" fmla="*/ 2546890 h 5800534"/>
                  <a:gd name="connsiteX278" fmla="*/ 5382292 w 5402008"/>
                  <a:gd name="connsiteY278" fmla="*/ 1129951 h 5800534"/>
                  <a:gd name="connsiteX279" fmla="*/ 5362575 w 5402008"/>
                  <a:gd name="connsiteY279" fmla="*/ 1149668 h 5800534"/>
                  <a:gd name="connsiteX280" fmla="*/ 5362575 w 5402008"/>
                  <a:gd name="connsiteY280" fmla="*/ 1326833 h 5800534"/>
                  <a:gd name="connsiteX281" fmla="*/ 5382292 w 5402008"/>
                  <a:gd name="connsiteY281" fmla="*/ 1346549 h 5800534"/>
                  <a:gd name="connsiteX282" fmla="*/ 5402009 w 5402008"/>
                  <a:gd name="connsiteY282" fmla="*/ 1326833 h 5800534"/>
                  <a:gd name="connsiteX283" fmla="*/ 5402009 w 5402008"/>
                  <a:gd name="connsiteY283" fmla="*/ 1149668 h 5800534"/>
                  <a:gd name="connsiteX284" fmla="*/ 5382292 w 5402008"/>
                  <a:gd name="connsiteY284" fmla="*/ 1129951 h 5800534"/>
                  <a:gd name="connsiteX285" fmla="*/ 5382292 w 5402008"/>
                  <a:gd name="connsiteY285" fmla="*/ 775716 h 5800534"/>
                  <a:gd name="connsiteX286" fmla="*/ 5362575 w 5402008"/>
                  <a:gd name="connsiteY286" fmla="*/ 795433 h 5800534"/>
                  <a:gd name="connsiteX287" fmla="*/ 5362575 w 5402008"/>
                  <a:gd name="connsiteY287" fmla="*/ 972503 h 5800534"/>
                  <a:gd name="connsiteX288" fmla="*/ 5382292 w 5402008"/>
                  <a:gd name="connsiteY288" fmla="*/ 992219 h 5800534"/>
                  <a:gd name="connsiteX289" fmla="*/ 5402009 w 5402008"/>
                  <a:gd name="connsiteY289" fmla="*/ 972503 h 5800534"/>
                  <a:gd name="connsiteX290" fmla="*/ 5402009 w 5402008"/>
                  <a:gd name="connsiteY290" fmla="*/ 795528 h 5800534"/>
                  <a:gd name="connsiteX291" fmla="*/ 5382292 w 5402008"/>
                  <a:gd name="connsiteY291" fmla="*/ 775716 h 5800534"/>
                  <a:gd name="connsiteX292" fmla="*/ 5380387 w 5402008"/>
                  <a:gd name="connsiteY292" fmla="*/ 437960 h 5800534"/>
                  <a:gd name="connsiteX293" fmla="*/ 5356098 w 5402008"/>
                  <a:gd name="connsiteY293" fmla="*/ 424148 h 5800534"/>
                  <a:gd name="connsiteX294" fmla="*/ 5342287 w 5402008"/>
                  <a:gd name="connsiteY294" fmla="*/ 448437 h 5800534"/>
                  <a:gd name="connsiteX295" fmla="*/ 5362480 w 5402008"/>
                  <a:gd name="connsiteY295" fmla="*/ 597789 h 5800534"/>
                  <a:gd name="connsiteX296" fmla="*/ 5362480 w 5402008"/>
                  <a:gd name="connsiteY296" fmla="*/ 618363 h 5800534"/>
                  <a:gd name="connsiteX297" fmla="*/ 5382197 w 5402008"/>
                  <a:gd name="connsiteY297" fmla="*/ 638080 h 5800534"/>
                  <a:gd name="connsiteX298" fmla="*/ 5401914 w 5402008"/>
                  <a:gd name="connsiteY298" fmla="*/ 618363 h 5800534"/>
                  <a:gd name="connsiteX299" fmla="*/ 5401914 w 5402008"/>
                  <a:gd name="connsiteY299" fmla="*/ 597789 h 5800534"/>
                  <a:gd name="connsiteX300" fmla="*/ 5380387 w 5402008"/>
                  <a:gd name="connsiteY300" fmla="*/ 437960 h 5800534"/>
                  <a:gd name="connsiteX301" fmla="*/ 5382292 w 5402008"/>
                  <a:gd name="connsiteY301" fmla="*/ 2192655 h 5800534"/>
                  <a:gd name="connsiteX302" fmla="*/ 5362575 w 5402008"/>
                  <a:gd name="connsiteY302" fmla="*/ 2212372 h 5800534"/>
                  <a:gd name="connsiteX303" fmla="*/ 5362575 w 5402008"/>
                  <a:gd name="connsiteY303" fmla="*/ 2389537 h 5800534"/>
                  <a:gd name="connsiteX304" fmla="*/ 5382292 w 5402008"/>
                  <a:gd name="connsiteY304" fmla="*/ 2409254 h 5800534"/>
                  <a:gd name="connsiteX305" fmla="*/ 5402009 w 5402008"/>
                  <a:gd name="connsiteY305" fmla="*/ 2389537 h 5800534"/>
                  <a:gd name="connsiteX306" fmla="*/ 5402009 w 5402008"/>
                  <a:gd name="connsiteY306" fmla="*/ 2212372 h 5800534"/>
                  <a:gd name="connsiteX307" fmla="*/ 5382292 w 5402008"/>
                  <a:gd name="connsiteY307" fmla="*/ 2192655 h 5800534"/>
                  <a:gd name="connsiteX308" fmla="*/ 5355622 w 5402008"/>
                  <a:gd name="connsiteY308" fmla="*/ 5378101 h 5800534"/>
                  <a:gd name="connsiteX309" fmla="*/ 5330381 w 5402008"/>
                  <a:gd name="connsiteY309" fmla="*/ 5390102 h 5800534"/>
                  <a:gd name="connsiteX310" fmla="*/ 5249323 w 5402008"/>
                  <a:gd name="connsiteY310" fmla="*/ 5539931 h 5800534"/>
                  <a:gd name="connsiteX311" fmla="*/ 5253133 w 5402008"/>
                  <a:gd name="connsiteY311" fmla="*/ 5567649 h 5800534"/>
                  <a:gd name="connsiteX312" fmla="*/ 5265039 w 5402008"/>
                  <a:gd name="connsiteY312" fmla="*/ 5571649 h 5800534"/>
                  <a:gd name="connsiteX313" fmla="*/ 5280755 w 5402008"/>
                  <a:gd name="connsiteY313" fmla="*/ 5563838 h 5800534"/>
                  <a:gd name="connsiteX314" fmla="*/ 5367528 w 5402008"/>
                  <a:gd name="connsiteY314" fmla="*/ 5403342 h 5800534"/>
                  <a:gd name="connsiteX315" fmla="*/ 5355622 w 5402008"/>
                  <a:gd name="connsiteY315" fmla="*/ 5378101 h 5800534"/>
                  <a:gd name="connsiteX316" fmla="*/ 5382292 w 5402008"/>
                  <a:gd name="connsiteY316" fmla="*/ 1838420 h 5800534"/>
                  <a:gd name="connsiteX317" fmla="*/ 5362575 w 5402008"/>
                  <a:gd name="connsiteY317" fmla="*/ 1858137 h 5800534"/>
                  <a:gd name="connsiteX318" fmla="*/ 5362575 w 5402008"/>
                  <a:gd name="connsiteY318" fmla="*/ 2035207 h 5800534"/>
                  <a:gd name="connsiteX319" fmla="*/ 5382292 w 5402008"/>
                  <a:gd name="connsiteY319" fmla="*/ 2054924 h 5800534"/>
                  <a:gd name="connsiteX320" fmla="*/ 5402009 w 5402008"/>
                  <a:gd name="connsiteY320" fmla="*/ 2035207 h 5800534"/>
                  <a:gd name="connsiteX321" fmla="*/ 5402009 w 5402008"/>
                  <a:gd name="connsiteY321" fmla="*/ 1858137 h 5800534"/>
                  <a:gd name="connsiteX322" fmla="*/ 5382292 w 5402008"/>
                  <a:gd name="connsiteY322" fmla="*/ 1838420 h 5800534"/>
                  <a:gd name="connsiteX323" fmla="*/ 5382292 w 5402008"/>
                  <a:gd name="connsiteY323" fmla="*/ 1484186 h 5800534"/>
                  <a:gd name="connsiteX324" fmla="*/ 5362575 w 5402008"/>
                  <a:gd name="connsiteY324" fmla="*/ 1503902 h 5800534"/>
                  <a:gd name="connsiteX325" fmla="*/ 5362575 w 5402008"/>
                  <a:gd name="connsiteY325" fmla="*/ 1681067 h 5800534"/>
                  <a:gd name="connsiteX326" fmla="*/ 5382292 w 5402008"/>
                  <a:gd name="connsiteY326" fmla="*/ 1700784 h 5800534"/>
                  <a:gd name="connsiteX327" fmla="*/ 5402009 w 5402008"/>
                  <a:gd name="connsiteY327" fmla="*/ 1681067 h 5800534"/>
                  <a:gd name="connsiteX328" fmla="*/ 5402009 w 5402008"/>
                  <a:gd name="connsiteY328" fmla="*/ 1503902 h 5800534"/>
                  <a:gd name="connsiteX329" fmla="*/ 5382292 w 5402008"/>
                  <a:gd name="connsiteY329" fmla="*/ 1484186 h 5800534"/>
                  <a:gd name="connsiteX330" fmla="*/ 5382292 w 5402008"/>
                  <a:gd name="connsiteY330" fmla="*/ 3255359 h 5800534"/>
                  <a:gd name="connsiteX331" fmla="*/ 5362575 w 5402008"/>
                  <a:gd name="connsiteY331" fmla="*/ 3275076 h 5800534"/>
                  <a:gd name="connsiteX332" fmla="*/ 5362575 w 5402008"/>
                  <a:gd name="connsiteY332" fmla="*/ 3452241 h 5800534"/>
                  <a:gd name="connsiteX333" fmla="*/ 5382292 w 5402008"/>
                  <a:gd name="connsiteY333" fmla="*/ 3471958 h 5800534"/>
                  <a:gd name="connsiteX334" fmla="*/ 5402009 w 5402008"/>
                  <a:gd name="connsiteY334" fmla="*/ 3452241 h 5800534"/>
                  <a:gd name="connsiteX335" fmla="*/ 5402009 w 5402008"/>
                  <a:gd name="connsiteY335" fmla="*/ 3275076 h 5800534"/>
                  <a:gd name="connsiteX336" fmla="*/ 5382292 w 5402008"/>
                  <a:gd name="connsiteY336" fmla="*/ 3255359 h 5800534"/>
                  <a:gd name="connsiteX337" fmla="*/ 5288756 w 5402008"/>
                  <a:gd name="connsiteY337" fmla="*/ 302228 h 5800534"/>
                  <a:gd name="connsiteX338" fmla="*/ 5299520 w 5402008"/>
                  <a:gd name="connsiteY338" fmla="*/ 298990 h 5800534"/>
                  <a:gd name="connsiteX339" fmla="*/ 5305235 w 5402008"/>
                  <a:gd name="connsiteY339" fmla="*/ 271653 h 5800534"/>
                  <a:gd name="connsiteX340" fmla="*/ 5183505 w 5402008"/>
                  <a:gd name="connsiteY340" fmla="*/ 135827 h 5800534"/>
                  <a:gd name="connsiteX341" fmla="*/ 5155693 w 5402008"/>
                  <a:gd name="connsiteY341" fmla="*/ 138589 h 5800534"/>
                  <a:gd name="connsiteX342" fmla="*/ 5158455 w 5402008"/>
                  <a:gd name="connsiteY342" fmla="*/ 166402 h 5800534"/>
                  <a:gd name="connsiteX343" fmla="*/ 5272088 w 5402008"/>
                  <a:gd name="connsiteY343" fmla="*/ 293370 h 5800534"/>
                  <a:gd name="connsiteX344" fmla="*/ 5288756 w 5402008"/>
                  <a:gd name="connsiteY344" fmla="*/ 302228 h 5800534"/>
                  <a:gd name="connsiteX345" fmla="*/ 3627501 w 5402008"/>
                  <a:gd name="connsiteY345" fmla="*/ 19717 h 5800534"/>
                  <a:gd name="connsiteX346" fmla="*/ 3607784 w 5402008"/>
                  <a:gd name="connsiteY346" fmla="*/ 0 h 5800534"/>
                  <a:gd name="connsiteX347" fmla="*/ 3430715 w 5402008"/>
                  <a:gd name="connsiteY347" fmla="*/ 0 h 5800534"/>
                  <a:gd name="connsiteX348" fmla="*/ 3410998 w 5402008"/>
                  <a:gd name="connsiteY348" fmla="*/ 19717 h 5800534"/>
                  <a:gd name="connsiteX349" fmla="*/ 3430715 w 5402008"/>
                  <a:gd name="connsiteY349" fmla="*/ 39434 h 5800534"/>
                  <a:gd name="connsiteX350" fmla="*/ 3607784 w 5402008"/>
                  <a:gd name="connsiteY350" fmla="*/ 39434 h 5800534"/>
                  <a:gd name="connsiteX351" fmla="*/ 3627501 w 5402008"/>
                  <a:gd name="connsiteY351" fmla="*/ 19717 h 5800534"/>
                  <a:gd name="connsiteX352" fmla="*/ 3981736 w 5402008"/>
                  <a:gd name="connsiteY352" fmla="*/ 19717 h 5800534"/>
                  <a:gd name="connsiteX353" fmla="*/ 3962019 w 5402008"/>
                  <a:gd name="connsiteY353" fmla="*/ 0 h 5800534"/>
                  <a:gd name="connsiteX354" fmla="*/ 3784854 w 5402008"/>
                  <a:gd name="connsiteY354" fmla="*/ 0 h 5800534"/>
                  <a:gd name="connsiteX355" fmla="*/ 3765137 w 5402008"/>
                  <a:gd name="connsiteY355" fmla="*/ 19717 h 5800534"/>
                  <a:gd name="connsiteX356" fmla="*/ 3784854 w 5402008"/>
                  <a:gd name="connsiteY356" fmla="*/ 39434 h 5800534"/>
                  <a:gd name="connsiteX357" fmla="*/ 3962019 w 5402008"/>
                  <a:gd name="connsiteY357" fmla="*/ 39434 h 5800534"/>
                  <a:gd name="connsiteX358" fmla="*/ 3981736 w 5402008"/>
                  <a:gd name="connsiteY358" fmla="*/ 19717 h 5800534"/>
                  <a:gd name="connsiteX359" fmla="*/ 3741420 w 5402008"/>
                  <a:gd name="connsiteY359" fmla="*/ 5761101 h 5800534"/>
                  <a:gd name="connsiteX360" fmla="*/ 3564255 w 5402008"/>
                  <a:gd name="connsiteY360" fmla="*/ 5761101 h 5800534"/>
                  <a:gd name="connsiteX361" fmla="*/ 3544538 w 5402008"/>
                  <a:gd name="connsiteY361" fmla="*/ 5780818 h 5800534"/>
                  <a:gd name="connsiteX362" fmla="*/ 3564255 w 5402008"/>
                  <a:gd name="connsiteY362" fmla="*/ 5800535 h 5800534"/>
                  <a:gd name="connsiteX363" fmla="*/ 3741420 w 5402008"/>
                  <a:gd name="connsiteY363" fmla="*/ 5800535 h 5800534"/>
                  <a:gd name="connsiteX364" fmla="*/ 3761137 w 5402008"/>
                  <a:gd name="connsiteY364" fmla="*/ 5780818 h 5800534"/>
                  <a:gd name="connsiteX365" fmla="*/ 3741420 w 5402008"/>
                  <a:gd name="connsiteY365" fmla="*/ 5761101 h 5800534"/>
                  <a:gd name="connsiteX366" fmla="*/ 3032951 w 5402008"/>
                  <a:gd name="connsiteY366" fmla="*/ 5761101 h 5800534"/>
                  <a:gd name="connsiteX367" fmla="*/ 2855881 w 5402008"/>
                  <a:gd name="connsiteY367" fmla="*/ 5761101 h 5800534"/>
                  <a:gd name="connsiteX368" fmla="*/ 2836164 w 5402008"/>
                  <a:gd name="connsiteY368" fmla="*/ 5780818 h 5800534"/>
                  <a:gd name="connsiteX369" fmla="*/ 2855881 w 5402008"/>
                  <a:gd name="connsiteY369" fmla="*/ 5800535 h 5800534"/>
                  <a:gd name="connsiteX370" fmla="*/ 3032951 w 5402008"/>
                  <a:gd name="connsiteY370" fmla="*/ 5800535 h 5800534"/>
                  <a:gd name="connsiteX371" fmla="*/ 3052667 w 5402008"/>
                  <a:gd name="connsiteY371" fmla="*/ 5780818 h 5800534"/>
                  <a:gd name="connsiteX372" fmla="*/ 3032951 w 5402008"/>
                  <a:gd name="connsiteY372" fmla="*/ 5761101 h 5800534"/>
                  <a:gd name="connsiteX373" fmla="*/ 3387185 w 5402008"/>
                  <a:gd name="connsiteY373" fmla="*/ 5761101 h 5800534"/>
                  <a:gd name="connsiteX374" fmla="*/ 3210116 w 5402008"/>
                  <a:gd name="connsiteY374" fmla="*/ 5761101 h 5800534"/>
                  <a:gd name="connsiteX375" fmla="*/ 3190399 w 5402008"/>
                  <a:gd name="connsiteY375" fmla="*/ 5780818 h 5800534"/>
                  <a:gd name="connsiteX376" fmla="*/ 3210116 w 5402008"/>
                  <a:gd name="connsiteY376" fmla="*/ 5800535 h 5800534"/>
                  <a:gd name="connsiteX377" fmla="*/ 3387185 w 5402008"/>
                  <a:gd name="connsiteY377" fmla="*/ 5800535 h 5800534"/>
                  <a:gd name="connsiteX378" fmla="*/ 3406902 w 5402008"/>
                  <a:gd name="connsiteY378" fmla="*/ 5780818 h 5800534"/>
                  <a:gd name="connsiteX379" fmla="*/ 3387185 w 5402008"/>
                  <a:gd name="connsiteY379" fmla="*/ 5761101 h 5800534"/>
                  <a:gd name="connsiteX380" fmla="*/ 3273266 w 5402008"/>
                  <a:gd name="connsiteY380" fmla="*/ 19717 h 5800534"/>
                  <a:gd name="connsiteX381" fmla="*/ 3253549 w 5402008"/>
                  <a:gd name="connsiteY381" fmla="*/ 0 h 5800534"/>
                  <a:gd name="connsiteX382" fmla="*/ 3076480 w 5402008"/>
                  <a:gd name="connsiteY382" fmla="*/ 0 h 5800534"/>
                  <a:gd name="connsiteX383" fmla="*/ 3056763 w 5402008"/>
                  <a:gd name="connsiteY383" fmla="*/ 19717 h 5800534"/>
                  <a:gd name="connsiteX384" fmla="*/ 3076480 w 5402008"/>
                  <a:gd name="connsiteY384" fmla="*/ 39434 h 5800534"/>
                  <a:gd name="connsiteX385" fmla="*/ 3253549 w 5402008"/>
                  <a:gd name="connsiteY385" fmla="*/ 39434 h 5800534"/>
                  <a:gd name="connsiteX386" fmla="*/ 3273266 w 5402008"/>
                  <a:gd name="connsiteY386" fmla="*/ 19717 h 5800534"/>
                  <a:gd name="connsiteX387" fmla="*/ 4095655 w 5402008"/>
                  <a:gd name="connsiteY387" fmla="*/ 5761101 h 5800534"/>
                  <a:gd name="connsiteX388" fmla="*/ 3918490 w 5402008"/>
                  <a:gd name="connsiteY388" fmla="*/ 5761101 h 5800534"/>
                  <a:gd name="connsiteX389" fmla="*/ 3898773 w 5402008"/>
                  <a:gd name="connsiteY389" fmla="*/ 5780818 h 5800534"/>
                  <a:gd name="connsiteX390" fmla="*/ 3918490 w 5402008"/>
                  <a:gd name="connsiteY390" fmla="*/ 5800535 h 5800534"/>
                  <a:gd name="connsiteX391" fmla="*/ 4095655 w 5402008"/>
                  <a:gd name="connsiteY391" fmla="*/ 5800535 h 5800534"/>
                  <a:gd name="connsiteX392" fmla="*/ 4115372 w 5402008"/>
                  <a:gd name="connsiteY392" fmla="*/ 5780818 h 5800534"/>
                  <a:gd name="connsiteX393" fmla="*/ 4095655 w 5402008"/>
                  <a:gd name="connsiteY393" fmla="*/ 5761101 h 5800534"/>
                  <a:gd name="connsiteX394" fmla="*/ 5019389 w 5402008"/>
                  <a:gd name="connsiteY394" fmla="*/ 80867 h 5800534"/>
                  <a:gd name="connsiteX395" fmla="*/ 5037773 w 5402008"/>
                  <a:gd name="connsiteY395" fmla="*/ 68485 h 5800534"/>
                  <a:gd name="connsiteX396" fmla="*/ 5026819 w 5402008"/>
                  <a:gd name="connsiteY396" fmla="*/ 42767 h 5800534"/>
                  <a:gd name="connsiteX397" fmla="*/ 4849082 w 5402008"/>
                  <a:gd name="connsiteY397" fmla="*/ 1619 h 5800534"/>
                  <a:gd name="connsiteX398" fmla="*/ 4827937 w 5402008"/>
                  <a:gd name="connsiteY398" fmla="*/ 19907 h 5800534"/>
                  <a:gd name="connsiteX399" fmla="*/ 4846225 w 5402008"/>
                  <a:gd name="connsiteY399" fmla="*/ 41053 h 5800534"/>
                  <a:gd name="connsiteX400" fmla="*/ 5012151 w 5402008"/>
                  <a:gd name="connsiteY400" fmla="*/ 79439 h 5800534"/>
                  <a:gd name="connsiteX401" fmla="*/ 5019389 w 5402008"/>
                  <a:gd name="connsiteY401" fmla="*/ 80867 h 5800534"/>
                  <a:gd name="connsiteX402" fmla="*/ 4806410 w 5402008"/>
                  <a:gd name="connsiteY402" fmla="*/ 5761101 h 5800534"/>
                  <a:gd name="connsiteX403" fmla="*/ 4627055 w 5402008"/>
                  <a:gd name="connsiteY403" fmla="*/ 5761101 h 5800534"/>
                  <a:gd name="connsiteX404" fmla="*/ 4607338 w 5402008"/>
                  <a:gd name="connsiteY404" fmla="*/ 5780818 h 5800534"/>
                  <a:gd name="connsiteX405" fmla="*/ 4627055 w 5402008"/>
                  <a:gd name="connsiteY405" fmla="*/ 5800535 h 5800534"/>
                  <a:gd name="connsiteX406" fmla="*/ 4804410 w 5402008"/>
                  <a:gd name="connsiteY406" fmla="*/ 5800535 h 5800534"/>
                  <a:gd name="connsiteX407" fmla="*/ 4806315 w 5402008"/>
                  <a:gd name="connsiteY407" fmla="*/ 5800535 h 5800534"/>
                  <a:gd name="connsiteX408" fmla="*/ 4826032 w 5402008"/>
                  <a:gd name="connsiteY408" fmla="*/ 5780818 h 5800534"/>
                  <a:gd name="connsiteX409" fmla="*/ 4806410 w 5402008"/>
                  <a:gd name="connsiteY409" fmla="*/ 5761101 h 5800534"/>
                  <a:gd name="connsiteX410" fmla="*/ 4335971 w 5402008"/>
                  <a:gd name="connsiteY410" fmla="*/ 19717 h 5800534"/>
                  <a:gd name="connsiteX411" fmla="*/ 4316254 w 5402008"/>
                  <a:gd name="connsiteY411" fmla="*/ 0 h 5800534"/>
                  <a:gd name="connsiteX412" fmla="*/ 4139184 w 5402008"/>
                  <a:gd name="connsiteY412" fmla="*/ 0 h 5800534"/>
                  <a:gd name="connsiteX413" fmla="*/ 4119467 w 5402008"/>
                  <a:gd name="connsiteY413" fmla="*/ 19717 h 5800534"/>
                  <a:gd name="connsiteX414" fmla="*/ 4139184 w 5402008"/>
                  <a:gd name="connsiteY414" fmla="*/ 39434 h 5800534"/>
                  <a:gd name="connsiteX415" fmla="*/ 4316254 w 5402008"/>
                  <a:gd name="connsiteY415" fmla="*/ 39434 h 5800534"/>
                  <a:gd name="connsiteX416" fmla="*/ 4335971 w 5402008"/>
                  <a:gd name="connsiteY416" fmla="*/ 19717 h 5800534"/>
                  <a:gd name="connsiteX417" fmla="*/ 5126927 w 5402008"/>
                  <a:gd name="connsiteY417" fmla="*/ 5658422 h 5800534"/>
                  <a:gd name="connsiteX418" fmla="*/ 4974622 w 5402008"/>
                  <a:gd name="connsiteY418" fmla="*/ 5734622 h 5800534"/>
                  <a:gd name="connsiteX419" fmla="*/ 4961858 w 5402008"/>
                  <a:gd name="connsiteY419" fmla="*/ 5759482 h 5800534"/>
                  <a:gd name="connsiteX420" fmla="*/ 4980718 w 5402008"/>
                  <a:gd name="connsiteY420" fmla="*/ 5773198 h 5800534"/>
                  <a:gd name="connsiteX421" fmla="*/ 4986719 w 5402008"/>
                  <a:gd name="connsiteY421" fmla="*/ 5772245 h 5800534"/>
                  <a:gd name="connsiteX422" fmla="*/ 5149882 w 5402008"/>
                  <a:gd name="connsiteY422" fmla="*/ 5690616 h 5800534"/>
                  <a:gd name="connsiteX423" fmla="*/ 5154549 w 5402008"/>
                  <a:gd name="connsiteY423" fmla="*/ 5663089 h 5800534"/>
                  <a:gd name="connsiteX424" fmla="*/ 5126927 w 5402008"/>
                  <a:gd name="connsiteY424" fmla="*/ 5658422 h 5800534"/>
                  <a:gd name="connsiteX425" fmla="*/ 4690206 w 5402008"/>
                  <a:gd name="connsiteY425" fmla="*/ 19717 h 5800534"/>
                  <a:gd name="connsiteX426" fmla="*/ 4670489 w 5402008"/>
                  <a:gd name="connsiteY426" fmla="*/ 0 h 5800534"/>
                  <a:gd name="connsiteX427" fmla="*/ 4493419 w 5402008"/>
                  <a:gd name="connsiteY427" fmla="*/ 0 h 5800534"/>
                  <a:gd name="connsiteX428" fmla="*/ 4473702 w 5402008"/>
                  <a:gd name="connsiteY428" fmla="*/ 19717 h 5800534"/>
                  <a:gd name="connsiteX429" fmla="*/ 4493419 w 5402008"/>
                  <a:gd name="connsiteY429" fmla="*/ 39434 h 5800534"/>
                  <a:gd name="connsiteX430" fmla="*/ 4670489 w 5402008"/>
                  <a:gd name="connsiteY430" fmla="*/ 39434 h 5800534"/>
                  <a:gd name="connsiteX431" fmla="*/ 4690206 w 5402008"/>
                  <a:gd name="connsiteY431" fmla="*/ 19717 h 5800534"/>
                  <a:gd name="connsiteX432" fmla="*/ 4449890 w 5402008"/>
                  <a:gd name="connsiteY432" fmla="*/ 5761101 h 5800534"/>
                  <a:gd name="connsiteX433" fmla="*/ 4272820 w 5402008"/>
                  <a:gd name="connsiteY433" fmla="*/ 5761101 h 5800534"/>
                  <a:gd name="connsiteX434" fmla="*/ 4253103 w 5402008"/>
                  <a:gd name="connsiteY434" fmla="*/ 5780818 h 5800534"/>
                  <a:gd name="connsiteX435" fmla="*/ 4272820 w 5402008"/>
                  <a:gd name="connsiteY435" fmla="*/ 5800535 h 5800534"/>
                  <a:gd name="connsiteX436" fmla="*/ 4449890 w 5402008"/>
                  <a:gd name="connsiteY436" fmla="*/ 5800535 h 5800534"/>
                  <a:gd name="connsiteX437" fmla="*/ 4469606 w 5402008"/>
                  <a:gd name="connsiteY437" fmla="*/ 5780818 h 5800534"/>
                  <a:gd name="connsiteX438" fmla="*/ 4449890 w 5402008"/>
                  <a:gd name="connsiteY438" fmla="*/ 5761101 h 58005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</a:cxnLst>
                <a:rect l="l" t="t" r="r" b="b"/>
                <a:pathLst>
                  <a:path w="5402008" h="5800534">
                    <a:moveTo>
                      <a:pt x="1147858" y="19717"/>
                    </a:moveTo>
                    <a:cubicBezTo>
                      <a:pt x="1147858" y="8763"/>
                      <a:pt x="1139000" y="0"/>
                      <a:pt x="1128141" y="0"/>
                    </a:cubicBezTo>
                    <a:lnTo>
                      <a:pt x="950976" y="0"/>
                    </a:lnTo>
                    <a:cubicBezTo>
                      <a:pt x="940022" y="0"/>
                      <a:pt x="931259" y="8858"/>
                      <a:pt x="931259" y="19717"/>
                    </a:cubicBezTo>
                    <a:cubicBezTo>
                      <a:pt x="931259" y="30670"/>
                      <a:pt x="940118" y="39434"/>
                      <a:pt x="950976" y="39434"/>
                    </a:cubicBezTo>
                    <a:lnTo>
                      <a:pt x="1128141" y="39434"/>
                    </a:lnTo>
                    <a:cubicBezTo>
                      <a:pt x="1139000" y="39434"/>
                      <a:pt x="1147858" y="30670"/>
                      <a:pt x="1147858" y="19717"/>
                    </a:cubicBezTo>
                    <a:close/>
                    <a:moveTo>
                      <a:pt x="1261872" y="5761101"/>
                    </a:moveTo>
                    <a:lnTo>
                      <a:pt x="1084707" y="5761101"/>
                    </a:lnTo>
                    <a:cubicBezTo>
                      <a:pt x="1073753" y="5761101"/>
                      <a:pt x="1064990" y="5769959"/>
                      <a:pt x="1064990" y="5780818"/>
                    </a:cubicBezTo>
                    <a:cubicBezTo>
                      <a:pt x="1064990" y="5791772"/>
                      <a:pt x="1073849" y="5800535"/>
                      <a:pt x="1084707" y="5800535"/>
                    </a:cubicBezTo>
                    <a:lnTo>
                      <a:pt x="1261872" y="5800535"/>
                    </a:lnTo>
                    <a:cubicBezTo>
                      <a:pt x="1272826" y="5800535"/>
                      <a:pt x="1281589" y="5791677"/>
                      <a:pt x="1281589" y="5780818"/>
                    </a:cubicBezTo>
                    <a:cubicBezTo>
                      <a:pt x="1281589" y="5769959"/>
                      <a:pt x="1272731" y="5761101"/>
                      <a:pt x="1261872" y="5761101"/>
                    </a:cubicBezTo>
                    <a:close/>
                    <a:moveTo>
                      <a:pt x="907637" y="5761101"/>
                    </a:moveTo>
                    <a:lnTo>
                      <a:pt x="730472" y="5761101"/>
                    </a:lnTo>
                    <a:cubicBezTo>
                      <a:pt x="719519" y="5761101"/>
                      <a:pt x="710756" y="5769959"/>
                      <a:pt x="710756" y="5780818"/>
                    </a:cubicBezTo>
                    <a:cubicBezTo>
                      <a:pt x="710756" y="5791772"/>
                      <a:pt x="719614" y="5800535"/>
                      <a:pt x="730472" y="5800535"/>
                    </a:cubicBezTo>
                    <a:lnTo>
                      <a:pt x="907637" y="5800535"/>
                    </a:lnTo>
                    <a:cubicBezTo>
                      <a:pt x="918591" y="5800535"/>
                      <a:pt x="927354" y="5791677"/>
                      <a:pt x="927354" y="5780818"/>
                    </a:cubicBezTo>
                    <a:cubicBezTo>
                      <a:pt x="927354" y="5769959"/>
                      <a:pt x="918496" y="5761101"/>
                      <a:pt x="907637" y="5761101"/>
                    </a:cubicBezTo>
                    <a:close/>
                    <a:moveTo>
                      <a:pt x="441293" y="40767"/>
                    </a:moveTo>
                    <a:cubicBezTo>
                      <a:pt x="437960" y="30385"/>
                      <a:pt x="426911" y="24575"/>
                      <a:pt x="416433" y="27908"/>
                    </a:cubicBezTo>
                    <a:cubicBezTo>
                      <a:pt x="358140" y="46482"/>
                      <a:pt x="303181" y="73819"/>
                      <a:pt x="253079" y="109157"/>
                    </a:cubicBezTo>
                    <a:cubicBezTo>
                      <a:pt x="244126" y="115443"/>
                      <a:pt x="242030" y="127826"/>
                      <a:pt x="248317" y="136684"/>
                    </a:cubicBezTo>
                    <a:cubicBezTo>
                      <a:pt x="252127" y="142113"/>
                      <a:pt x="258318" y="145066"/>
                      <a:pt x="264509" y="145066"/>
                    </a:cubicBezTo>
                    <a:cubicBezTo>
                      <a:pt x="268415" y="145066"/>
                      <a:pt x="272415" y="143923"/>
                      <a:pt x="275939" y="141446"/>
                    </a:cubicBezTo>
                    <a:cubicBezTo>
                      <a:pt x="322707" y="108395"/>
                      <a:pt x="374047" y="82868"/>
                      <a:pt x="428435" y="65532"/>
                    </a:cubicBezTo>
                    <a:cubicBezTo>
                      <a:pt x="438912" y="62294"/>
                      <a:pt x="444627" y="51149"/>
                      <a:pt x="441293" y="40767"/>
                    </a:cubicBezTo>
                    <a:close/>
                    <a:moveTo>
                      <a:pt x="2678716" y="5761101"/>
                    </a:moveTo>
                    <a:lnTo>
                      <a:pt x="2501551" y="5761101"/>
                    </a:lnTo>
                    <a:cubicBezTo>
                      <a:pt x="2490597" y="5761101"/>
                      <a:pt x="2481834" y="5769959"/>
                      <a:pt x="2481834" y="5780818"/>
                    </a:cubicBezTo>
                    <a:cubicBezTo>
                      <a:pt x="2481834" y="5791772"/>
                      <a:pt x="2490692" y="5800535"/>
                      <a:pt x="2501551" y="5800535"/>
                    </a:cubicBezTo>
                    <a:lnTo>
                      <a:pt x="2678716" y="5800535"/>
                    </a:lnTo>
                    <a:cubicBezTo>
                      <a:pt x="2689670" y="5800535"/>
                      <a:pt x="2698433" y="5791677"/>
                      <a:pt x="2698433" y="5780818"/>
                    </a:cubicBezTo>
                    <a:cubicBezTo>
                      <a:pt x="2698528" y="5769959"/>
                      <a:pt x="2689670" y="5761101"/>
                      <a:pt x="2678716" y="5761101"/>
                    </a:cubicBezTo>
                    <a:close/>
                    <a:moveTo>
                      <a:pt x="793623" y="19717"/>
                    </a:moveTo>
                    <a:cubicBezTo>
                      <a:pt x="793623" y="8763"/>
                      <a:pt x="784765" y="0"/>
                      <a:pt x="773906" y="0"/>
                    </a:cubicBezTo>
                    <a:lnTo>
                      <a:pt x="596741" y="0"/>
                    </a:lnTo>
                    <a:cubicBezTo>
                      <a:pt x="585788" y="0"/>
                      <a:pt x="577025" y="8858"/>
                      <a:pt x="577025" y="19717"/>
                    </a:cubicBezTo>
                    <a:cubicBezTo>
                      <a:pt x="577025" y="30670"/>
                      <a:pt x="585883" y="39434"/>
                      <a:pt x="596741" y="39434"/>
                    </a:cubicBezTo>
                    <a:lnTo>
                      <a:pt x="773906" y="39434"/>
                    </a:lnTo>
                    <a:cubicBezTo>
                      <a:pt x="784765" y="39434"/>
                      <a:pt x="793623" y="30670"/>
                      <a:pt x="793623" y="19717"/>
                    </a:cubicBezTo>
                    <a:close/>
                    <a:moveTo>
                      <a:pt x="1502093" y="19717"/>
                    </a:moveTo>
                    <a:cubicBezTo>
                      <a:pt x="1502093" y="8763"/>
                      <a:pt x="1493234" y="0"/>
                      <a:pt x="1482376" y="0"/>
                    </a:cubicBezTo>
                    <a:lnTo>
                      <a:pt x="1305306" y="0"/>
                    </a:lnTo>
                    <a:cubicBezTo>
                      <a:pt x="1294352" y="0"/>
                      <a:pt x="1285589" y="8858"/>
                      <a:pt x="1285589" y="19717"/>
                    </a:cubicBezTo>
                    <a:cubicBezTo>
                      <a:pt x="1285589" y="30670"/>
                      <a:pt x="1294448" y="39434"/>
                      <a:pt x="1305306" y="39434"/>
                    </a:cubicBezTo>
                    <a:lnTo>
                      <a:pt x="1482376" y="39434"/>
                    </a:lnTo>
                    <a:cubicBezTo>
                      <a:pt x="1493234" y="39434"/>
                      <a:pt x="1502093" y="30670"/>
                      <a:pt x="1502093" y="19717"/>
                    </a:cubicBezTo>
                    <a:close/>
                    <a:moveTo>
                      <a:pt x="2324481" y="5761101"/>
                    </a:moveTo>
                    <a:lnTo>
                      <a:pt x="2147316" y="5761101"/>
                    </a:lnTo>
                    <a:cubicBezTo>
                      <a:pt x="2136362" y="5761101"/>
                      <a:pt x="2127599" y="5769959"/>
                      <a:pt x="2127599" y="5780818"/>
                    </a:cubicBezTo>
                    <a:cubicBezTo>
                      <a:pt x="2127599" y="5791772"/>
                      <a:pt x="2136458" y="5800535"/>
                      <a:pt x="2147316" y="5800535"/>
                    </a:cubicBezTo>
                    <a:lnTo>
                      <a:pt x="2324481" y="5800535"/>
                    </a:lnTo>
                    <a:cubicBezTo>
                      <a:pt x="2335435" y="5800535"/>
                      <a:pt x="2344198" y="5791677"/>
                      <a:pt x="2344198" y="5780818"/>
                    </a:cubicBezTo>
                    <a:cubicBezTo>
                      <a:pt x="2344293" y="5769959"/>
                      <a:pt x="2335435" y="5761101"/>
                      <a:pt x="2324481" y="5761101"/>
                    </a:cubicBezTo>
                    <a:close/>
                    <a:moveTo>
                      <a:pt x="2564797" y="19717"/>
                    </a:moveTo>
                    <a:cubicBezTo>
                      <a:pt x="2564797" y="8763"/>
                      <a:pt x="2555939" y="0"/>
                      <a:pt x="2545080" y="0"/>
                    </a:cubicBezTo>
                    <a:lnTo>
                      <a:pt x="2367915" y="0"/>
                    </a:lnTo>
                    <a:cubicBezTo>
                      <a:pt x="2356961" y="0"/>
                      <a:pt x="2348198" y="8858"/>
                      <a:pt x="2348198" y="19717"/>
                    </a:cubicBezTo>
                    <a:cubicBezTo>
                      <a:pt x="2348198" y="30670"/>
                      <a:pt x="2357057" y="39434"/>
                      <a:pt x="2367915" y="39434"/>
                    </a:cubicBezTo>
                    <a:lnTo>
                      <a:pt x="2545080" y="39434"/>
                    </a:lnTo>
                    <a:cubicBezTo>
                      <a:pt x="2555939" y="39434"/>
                      <a:pt x="2564797" y="30670"/>
                      <a:pt x="2564797" y="19717"/>
                    </a:cubicBezTo>
                    <a:close/>
                    <a:moveTo>
                      <a:pt x="129254" y="5506403"/>
                    </a:moveTo>
                    <a:cubicBezTo>
                      <a:pt x="123349" y="5497259"/>
                      <a:pt x="111062" y="5494687"/>
                      <a:pt x="101918" y="5500592"/>
                    </a:cubicBezTo>
                    <a:cubicBezTo>
                      <a:pt x="92774" y="5506498"/>
                      <a:pt x="90202" y="5518785"/>
                      <a:pt x="96107" y="5527930"/>
                    </a:cubicBezTo>
                    <a:cubicBezTo>
                      <a:pt x="129445" y="5579269"/>
                      <a:pt x="170307" y="5624989"/>
                      <a:pt x="217551" y="5664042"/>
                    </a:cubicBezTo>
                    <a:cubicBezTo>
                      <a:pt x="221266" y="5667090"/>
                      <a:pt x="225647" y="5668613"/>
                      <a:pt x="230124" y="5668613"/>
                    </a:cubicBezTo>
                    <a:cubicBezTo>
                      <a:pt x="235839" y="5668613"/>
                      <a:pt x="241459" y="5666137"/>
                      <a:pt x="245364" y="5661470"/>
                    </a:cubicBezTo>
                    <a:cubicBezTo>
                      <a:pt x="252317" y="5653088"/>
                      <a:pt x="251079" y="5640610"/>
                      <a:pt x="242697" y="5633657"/>
                    </a:cubicBezTo>
                    <a:cubicBezTo>
                      <a:pt x="198501" y="5597176"/>
                      <a:pt x="160401" y="5554409"/>
                      <a:pt x="129254" y="5506403"/>
                    </a:cubicBezTo>
                    <a:close/>
                    <a:moveTo>
                      <a:pt x="2210562" y="19717"/>
                    </a:moveTo>
                    <a:cubicBezTo>
                      <a:pt x="2210562" y="8763"/>
                      <a:pt x="2201704" y="0"/>
                      <a:pt x="2190845" y="0"/>
                    </a:cubicBezTo>
                    <a:lnTo>
                      <a:pt x="2013776" y="0"/>
                    </a:lnTo>
                    <a:cubicBezTo>
                      <a:pt x="2002822" y="0"/>
                      <a:pt x="1994059" y="8858"/>
                      <a:pt x="1994059" y="19717"/>
                    </a:cubicBezTo>
                    <a:cubicBezTo>
                      <a:pt x="1994059" y="30670"/>
                      <a:pt x="2002917" y="39434"/>
                      <a:pt x="2013776" y="39434"/>
                    </a:cubicBezTo>
                    <a:lnTo>
                      <a:pt x="2190845" y="39434"/>
                    </a:lnTo>
                    <a:cubicBezTo>
                      <a:pt x="2201704" y="39434"/>
                      <a:pt x="2210562" y="30670"/>
                      <a:pt x="2210562" y="19717"/>
                    </a:cubicBezTo>
                    <a:close/>
                    <a:moveTo>
                      <a:pt x="1970246" y="5761101"/>
                    </a:moveTo>
                    <a:lnTo>
                      <a:pt x="1793177" y="5761101"/>
                    </a:lnTo>
                    <a:cubicBezTo>
                      <a:pt x="1782223" y="5761101"/>
                      <a:pt x="1773460" y="5769959"/>
                      <a:pt x="1773460" y="5780818"/>
                    </a:cubicBezTo>
                    <a:cubicBezTo>
                      <a:pt x="1773460" y="5791772"/>
                      <a:pt x="1782318" y="5800535"/>
                      <a:pt x="1793177" y="5800535"/>
                    </a:cubicBezTo>
                    <a:lnTo>
                      <a:pt x="1970246" y="5800535"/>
                    </a:lnTo>
                    <a:cubicBezTo>
                      <a:pt x="1981200" y="5800535"/>
                      <a:pt x="1989963" y="5791677"/>
                      <a:pt x="1989963" y="5780818"/>
                    </a:cubicBezTo>
                    <a:cubicBezTo>
                      <a:pt x="1990058" y="5769959"/>
                      <a:pt x="1981200" y="5761101"/>
                      <a:pt x="1970246" y="5761101"/>
                    </a:cubicBezTo>
                    <a:close/>
                    <a:moveTo>
                      <a:pt x="1616012" y="5761101"/>
                    </a:moveTo>
                    <a:lnTo>
                      <a:pt x="1438942" y="5761101"/>
                    </a:lnTo>
                    <a:cubicBezTo>
                      <a:pt x="1427988" y="5761101"/>
                      <a:pt x="1419225" y="5769959"/>
                      <a:pt x="1419225" y="5780818"/>
                    </a:cubicBezTo>
                    <a:cubicBezTo>
                      <a:pt x="1419225" y="5791772"/>
                      <a:pt x="1428083" y="5800535"/>
                      <a:pt x="1438942" y="5800535"/>
                    </a:cubicBezTo>
                    <a:lnTo>
                      <a:pt x="1616012" y="5800535"/>
                    </a:lnTo>
                    <a:cubicBezTo>
                      <a:pt x="1626965" y="5800535"/>
                      <a:pt x="1635728" y="5791677"/>
                      <a:pt x="1635728" y="5780818"/>
                    </a:cubicBezTo>
                    <a:cubicBezTo>
                      <a:pt x="1635824" y="5769959"/>
                      <a:pt x="1626965" y="5761101"/>
                      <a:pt x="1616012" y="5761101"/>
                    </a:cubicBezTo>
                    <a:close/>
                    <a:moveTo>
                      <a:pt x="1856327" y="19717"/>
                    </a:moveTo>
                    <a:cubicBezTo>
                      <a:pt x="1856327" y="8763"/>
                      <a:pt x="1847469" y="0"/>
                      <a:pt x="1836611" y="0"/>
                    </a:cubicBezTo>
                    <a:lnTo>
                      <a:pt x="1659541" y="0"/>
                    </a:lnTo>
                    <a:cubicBezTo>
                      <a:pt x="1648587" y="0"/>
                      <a:pt x="1639824" y="8858"/>
                      <a:pt x="1639824" y="19717"/>
                    </a:cubicBezTo>
                    <a:cubicBezTo>
                      <a:pt x="1639824" y="30670"/>
                      <a:pt x="1648682" y="39434"/>
                      <a:pt x="1659541" y="39434"/>
                    </a:cubicBezTo>
                    <a:lnTo>
                      <a:pt x="1836611" y="39434"/>
                    </a:lnTo>
                    <a:cubicBezTo>
                      <a:pt x="1847469" y="39434"/>
                      <a:pt x="1856327" y="30670"/>
                      <a:pt x="1856327" y="19717"/>
                    </a:cubicBezTo>
                    <a:close/>
                    <a:moveTo>
                      <a:pt x="554927" y="5759482"/>
                    </a:moveTo>
                    <a:cubicBezTo>
                      <a:pt x="497776" y="5755101"/>
                      <a:pt x="441960" y="5742147"/>
                      <a:pt x="389096" y="5720715"/>
                    </a:cubicBezTo>
                    <a:cubicBezTo>
                      <a:pt x="379000" y="5716620"/>
                      <a:pt x="367475" y="5721572"/>
                      <a:pt x="363379" y="5731669"/>
                    </a:cubicBezTo>
                    <a:cubicBezTo>
                      <a:pt x="359283" y="5741765"/>
                      <a:pt x="364141" y="5753291"/>
                      <a:pt x="374333" y="5757386"/>
                    </a:cubicBezTo>
                    <a:cubicBezTo>
                      <a:pt x="431006" y="5780247"/>
                      <a:pt x="490728" y="5794248"/>
                      <a:pt x="551974" y="5798915"/>
                    </a:cubicBezTo>
                    <a:cubicBezTo>
                      <a:pt x="552450" y="5798915"/>
                      <a:pt x="553022" y="5799011"/>
                      <a:pt x="553498" y="5799011"/>
                    </a:cubicBezTo>
                    <a:cubicBezTo>
                      <a:pt x="563690" y="5799011"/>
                      <a:pt x="572357" y="5791105"/>
                      <a:pt x="573215" y="5780723"/>
                    </a:cubicBezTo>
                    <a:cubicBezTo>
                      <a:pt x="573977" y="5769769"/>
                      <a:pt x="565785" y="5760339"/>
                      <a:pt x="554927" y="5759482"/>
                    </a:cubicBezTo>
                    <a:close/>
                    <a:moveTo>
                      <a:pt x="19717" y="2189893"/>
                    </a:moveTo>
                    <a:cubicBezTo>
                      <a:pt x="30671" y="2189893"/>
                      <a:pt x="39434" y="2181035"/>
                      <a:pt x="39434" y="2170176"/>
                    </a:cubicBezTo>
                    <a:lnTo>
                      <a:pt x="39434" y="1993011"/>
                    </a:lnTo>
                    <a:cubicBezTo>
                      <a:pt x="39434" y="1982057"/>
                      <a:pt x="30575" y="1973294"/>
                      <a:pt x="19717" y="1973294"/>
                    </a:cubicBezTo>
                    <a:cubicBezTo>
                      <a:pt x="8763" y="1973294"/>
                      <a:pt x="0" y="1982153"/>
                      <a:pt x="0" y="1993011"/>
                    </a:cubicBezTo>
                    <a:lnTo>
                      <a:pt x="0" y="2170176"/>
                    </a:lnTo>
                    <a:cubicBezTo>
                      <a:pt x="0" y="2181035"/>
                      <a:pt x="8858" y="2189893"/>
                      <a:pt x="19717" y="2189893"/>
                    </a:cubicBezTo>
                    <a:close/>
                    <a:moveTo>
                      <a:pt x="19717" y="2544127"/>
                    </a:moveTo>
                    <a:cubicBezTo>
                      <a:pt x="30671" y="2544127"/>
                      <a:pt x="39434" y="2535269"/>
                      <a:pt x="39434" y="2524411"/>
                    </a:cubicBezTo>
                    <a:lnTo>
                      <a:pt x="39434" y="2347341"/>
                    </a:lnTo>
                    <a:cubicBezTo>
                      <a:pt x="39434" y="2336387"/>
                      <a:pt x="30575" y="2327624"/>
                      <a:pt x="19717" y="2327624"/>
                    </a:cubicBezTo>
                    <a:cubicBezTo>
                      <a:pt x="8763" y="2327624"/>
                      <a:pt x="0" y="2336483"/>
                      <a:pt x="0" y="2347341"/>
                    </a:cubicBezTo>
                    <a:lnTo>
                      <a:pt x="0" y="2524411"/>
                    </a:lnTo>
                    <a:cubicBezTo>
                      <a:pt x="0" y="2535269"/>
                      <a:pt x="8858" y="2544127"/>
                      <a:pt x="19717" y="2544127"/>
                    </a:cubicBezTo>
                    <a:close/>
                    <a:moveTo>
                      <a:pt x="19717" y="1835658"/>
                    </a:moveTo>
                    <a:cubicBezTo>
                      <a:pt x="30671" y="1835658"/>
                      <a:pt x="39434" y="1826800"/>
                      <a:pt x="39434" y="1815941"/>
                    </a:cubicBezTo>
                    <a:lnTo>
                      <a:pt x="39434" y="1638776"/>
                    </a:lnTo>
                    <a:cubicBezTo>
                      <a:pt x="39434" y="1627823"/>
                      <a:pt x="30575" y="1619060"/>
                      <a:pt x="19717" y="1619060"/>
                    </a:cubicBezTo>
                    <a:cubicBezTo>
                      <a:pt x="8763" y="1619060"/>
                      <a:pt x="0" y="1627918"/>
                      <a:pt x="0" y="1638776"/>
                    </a:cubicBezTo>
                    <a:lnTo>
                      <a:pt x="0" y="1815941"/>
                    </a:lnTo>
                    <a:cubicBezTo>
                      <a:pt x="0" y="1826800"/>
                      <a:pt x="8858" y="1835658"/>
                      <a:pt x="19717" y="1835658"/>
                    </a:cubicBezTo>
                    <a:close/>
                    <a:moveTo>
                      <a:pt x="19717" y="772954"/>
                    </a:moveTo>
                    <a:cubicBezTo>
                      <a:pt x="30671" y="772954"/>
                      <a:pt x="39434" y="764096"/>
                      <a:pt x="39434" y="753237"/>
                    </a:cubicBezTo>
                    <a:lnTo>
                      <a:pt x="39434" y="597789"/>
                    </a:lnTo>
                    <a:cubicBezTo>
                      <a:pt x="39434" y="590741"/>
                      <a:pt x="39529" y="583787"/>
                      <a:pt x="39815" y="576739"/>
                    </a:cubicBezTo>
                    <a:cubicBezTo>
                      <a:pt x="40195" y="565880"/>
                      <a:pt x="31718" y="556641"/>
                      <a:pt x="20765" y="556260"/>
                    </a:cubicBezTo>
                    <a:cubicBezTo>
                      <a:pt x="10001" y="555879"/>
                      <a:pt x="667" y="564356"/>
                      <a:pt x="286" y="575310"/>
                    </a:cubicBezTo>
                    <a:cubicBezTo>
                      <a:pt x="95" y="582835"/>
                      <a:pt x="0" y="590264"/>
                      <a:pt x="0" y="597789"/>
                    </a:cubicBezTo>
                    <a:lnTo>
                      <a:pt x="0" y="753142"/>
                    </a:lnTo>
                    <a:cubicBezTo>
                      <a:pt x="0" y="764096"/>
                      <a:pt x="8858" y="772954"/>
                      <a:pt x="19717" y="772954"/>
                    </a:cubicBezTo>
                    <a:close/>
                    <a:moveTo>
                      <a:pt x="19717" y="1481423"/>
                    </a:moveTo>
                    <a:cubicBezTo>
                      <a:pt x="30671" y="1481423"/>
                      <a:pt x="39434" y="1472565"/>
                      <a:pt x="39434" y="1461707"/>
                    </a:cubicBezTo>
                    <a:lnTo>
                      <a:pt x="39434" y="1284637"/>
                    </a:lnTo>
                    <a:cubicBezTo>
                      <a:pt x="39434" y="1273683"/>
                      <a:pt x="30575" y="1264920"/>
                      <a:pt x="19717" y="1264920"/>
                    </a:cubicBezTo>
                    <a:cubicBezTo>
                      <a:pt x="8763" y="1264920"/>
                      <a:pt x="0" y="1273778"/>
                      <a:pt x="0" y="1284637"/>
                    </a:cubicBezTo>
                    <a:lnTo>
                      <a:pt x="0" y="1461707"/>
                    </a:lnTo>
                    <a:cubicBezTo>
                      <a:pt x="0" y="1472565"/>
                      <a:pt x="8858" y="1481423"/>
                      <a:pt x="19717" y="1481423"/>
                    </a:cubicBezTo>
                    <a:close/>
                    <a:moveTo>
                      <a:pt x="19717" y="2898362"/>
                    </a:moveTo>
                    <a:cubicBezTo>
                      <a:pt x="30671" y="2898362"/>
                      <a:pt x="39434" y="2889504"/>
                      <a:pt x="39434" y="2878646"/>
                    </a:cubicBezTo>
                    <a:lnTo>
                      <a:pt x="39434" y="2701481"/>
                    </a:lnTo>
                    <a:cubicBezTo>
                      <a:pt x="39434" y="2690527"/>
                      <a:pt x="30575" y="2681764"/>
                      <a:pt x="19717" y="2681764"/>
                    </a:cubicBezTo>
                    <a:cubicBezTo>
                      <a:pt x="8763" y="2681764"/>
                      <a:pt x="0" y="2690622"/>
                      <a:pt x="0" y="2701481"/>
                    </a:cubicBezTo>
                    <a:lnTo>
                      <a:pt x="0" y="2878646"/>
                    </a:lnTo>
                    <a:cubicBezTo>
                      <a:pt x="0" y="2889504"/>
                      <a:pt x="8858" y="2898362"/>
                      <a:pt x="19717" y="2898362"/>
                    </a:cubicBezTo>
                    <a:close/>
                    <a:moveTo>
                      <a:pt x="19717" y="1127189"/>
                    </a:moveTo>
                    <a:cubicBezTo>
                      <a:pt x="30671" y="1127189"/>
                      <a:pt x="39434" y="1118330"/>
                      <a:pt x="39434" y="1107472"/>
                    </a:cubicBezTo>
                    <a:lnTo>
                      <a:pt x="39434" y="930307"/>
                    </a:lnTo>
                    <a:cubicBezTo>
                      <a:pt x="39434" y="919353"/>
                      <a:pt x="30575" y="910590"/>
                      <a:pt x="19717" y="910590"/>
                    </a:cubicBezTo>
                    <a:cubicBezTo>
                      <a:pt x="8763" y="910590"/>
                      <a:pt x="0" y="919448"/>
                      <a:pt x="0" y="930307"/>
                    </a:cubicBezTo>
                    <a:lnTo>
                      <a:pt x="0" y="1107472"/>
                    </a:lnTo>
                    <a:cubicBezTo>
                      <a:pt x="0" y="1118330"/>
                      <a:pt x="8858" y="1127189"/>
                      <a:pt x="19717" y="1127189"/>
                    </a:cubicBezTo>
                    <a:close/>
                    <a:moveTo>
                      <a:pt x="19717" y="3961067"/>
                    </a:moveTo>
                    <a:cubicBezTo>
                      <a:pt x="30671" y="3961067"/>
                      <a:pt x="39434" y="3952208"/>
                      <a:pt x="39434" y="3941350"/>
                    </a:cubicBezTo>
                    <a:lnTo>
                      <a:pt x="39434" y="3764185"/>
                    </a:lnTo>
                    <a:cubicBezTo>
                      <a:pt x="39434" y="3753231"/>
                      <a:pt x="30575" y="3744468"/>
                      <a:pt x="19717" y="3744468"/>
                    </a:cubicBezTo>
                    <a:cubicBezTo>
                      <a:pt x="8763" y="3744468"/>
                      <a:pt x="0" y="3753326"/>
                      <a:pt x="0" y="3764185"/>
                    </a:cubicBezTo>
                    <a:lnTo>
                      <a:pt x="0" y="3941350"/>
                    </a:lnTo>
                    <a:cubicBezTo>
                      <a:pt x="0" y="3952208"/>
                      <a:pt x="8858" y="3961067"/>
                      <a:pt x="19717" y="3961067"/>
                    </a:cubicBezTo>
                    <a:close/>
                    <a:moveTo>
                      <a:pt x="19717" y="5023771"/>
                    </a:moveTo>
                    <a:cubicBezTo>
                      <a:pt x="30671" y="5023771"/>
                      <a:pt x="39434" y="5014913"/>
                      <a:pt x="39434" y="5004055"/>
                    </a:cubicBezTo>
                    <a:lnTo>
                      <a:pt x="39434" y="4826889"/>
                    </a:lnTo>
                    <a:cubicBezTo>
                      <a:pt x="39434" y="4815935"/>
                      <a:pt x="30575" y="4807173"/>
                      <a:pt x="19717" y="4807173"/>
                    </a:cubicBezTo>
                    <a:cubicBezTo>
                      <a:pt x="8763" y="4807173"/>
                      <a:pt x="0" y="4816031"/>
                      <a:pt x="0" y="4826889"/>
                    </a:cubicBezTo>
                    <a:lnTo>
                      <a:pt x="0" y="5004055"/>
                    </a:lnTo>
                    <a:cubicBezTo>
                      <a:pt x="0" y="5014913"/>
                      <a:pt x="8858" y="5023771"/>
                      <a:pt x="19717" y="5023771"/>
                    </a:cubicBezTo>
                    <a:close/>
                    <a:moveTo>
                      <a:pt x="19717" y="4669536"/>
                    </a:moveTo>
                    <a:cubicBezTo>
                      <a:pt x="30671" y="4669536"/>
                      <a:pt x="39434" y="4660678"/>
                      <a:pt x="39434" y="4649819"/>
                    </a:cubicBezTo>
                    <a:lnTo>
                      <a:pt x="39434" y="4472654"/>
                    </a:lnTo>
                    <a:cubicBezTo>
                      <a:pt x="39434" y="4461701"/>
                      <a:pt x="30575" y="4452938"/>
                      <a:pt x="19717" y="4452938"/>
                    </a:cubicBezTo>
                    <a:cubicBezTo>
                      <a:pt x="8763" y="4452938"/>
                      <a:pt x="0" y="4461796"/>
                      <a:pt x="0" y="4472654"/>
                    </a:cubicBezTo>
                    <a:lnTo>
                      <a:pt x="0" y="4649819"/>
                    </a:lnTo>
                    <a:cubicBezTo>
                      <a:pt x="0" y="4660678"/>
                      <a:pt x="8858" y="4669536"/>
                      <a:pt x="19717" y="4669536"/>
                    </a:cubicBezTo>
                    <a:close/>
                    <a:moveTo>
                      <a:pt x="39529" y="5202746"/>
                    </a:moveTo>
                    <a:lnTo>
                      <a:pt x="39529" y="5181124"/>
                    </a:lnTo>
                    <a:cubicBezTo>
                      <a:pt x="39529" y="5170171"/>
                      <a:pt x="30671" y="5161407"/>
                      <a:pt x="19812" y="5161407"/>
                    </a:cubicBezTo>
                    <a:cubicBezTo>
                      <a:pt x="8858" y="5161407"/>
                      <a:pt x="95" y="5170265"/>
                      <a:pt x="95" y="5181124"/>
                    </a:cubicBezTo>
                    <a:lnTo>
                      <a:pt x="95" y="5202746"/>
                    </a:lnTo>
                    <a:cubicBezTo>
                      <a:pt x="95" y="5256657"/>
                      <a:pt x="7239" y="5310092"/>
                      <a:pt x="21431" y="5361527"/>
                    </a:cubicBezTo>
                    <a:cubicBezTo>
                      <a:pt x="23813" y="5370290"/>
                      <a:pt x="31814" y="5376101"/>
                      <a:pt x="40481" y="5376101"/>
                    </a:cubicBezTo>
                    <a:cubicBezTo>
                      <a:pt x="42196" y="5376101"/>
                      <a:pt x="44006" y="5375910"/>
                      <a:pt x="45720" y="5375339"/>
                    </a:cubicBezTo>
                    <a:cubicBezTo>
                      <a:pt x="56198" y="5372481"/>
                      <a:pt x="62389" y="5361527"/>
                      <a:pt x="59531" y="5351050"/>
                    </a:cubicBezTo>
                    <a:cubicBezTo>
                      <a:pt x="46196" y="5303044"/>
                      <a:pt x="39529" y="5253133"/>
                      <a:pt x="39529" y="5202746"/>
                    </a:cubicBezTo>
                    <a:close/>
                    <a:moveTo>
                      <a:pt x="149638" y="232124"/>
                    </a:moveTo>
                    <a:cubicBezTo>
                      <a:pt x="140970" y="225552"/>
                      <a:pt x="128588" y="227267"/>
                      <a:pt x="121920" y="235934"/>
                    </a:cubicBezTo>
                    <a:cubicBezTo>
                      <a:pt x="84773" y="284798"/>
                      <a:pt x="55436" y="338709"/>
                      <a:pt x="34862" y="396240"/>
                    </a:cubicBezTo>
                    <a:cubicBezTo>
                      <a:pt x="31147" y="406527"/>
                      <a:pt x="36481" y="417862"/>
                      <a:pt x="46768" y="421481"/>
                    </a:cubicBezTo>
                    <a:cubicBezTo>
                      <a:pt x="48959" y="422243"/>
                      <a:pt x="51245" y="422624"/>
                      <a:pt x="53435" y="422624"/>
                    </a:cubicBezTo>
                    <a:cubicBezTo>
                      <a:pt x="61532" y="422624"/>
                      <a:pt x="69152" y="417576"/>
                      <a:pt x="72009" y="409480"/>
                    </a:cubicBezTo>
                    <a:cubicBezTo>
                      <a:pt x="91250" y="355759"/>
                      <a:pt x="118586" y="305372"/>
                      <a:pt x="153353" y="259842"/>
                    </a:cubicBezTo>
                    <a:cubicBezTo>
                      <a:pt x="160020" y="251174"/>
                      <a:pt x="158306" y="238792"/>
                      <a:pt x="149638" y="232124"/>
                    </a:cubicBezTo>
                    <a:close/>
                    <a:moveTo>
                      <a:pt x="19717" y="4315301"/>
                    </a:moveTo>
                    <a:cubicBezTo>
                      <a:pt x="30671" y="4315301"/>
                      <a:pt x="39434" y="4306443"/>
                      <a:pt x="39434" y="4295585"/>
                    </a:cubicBezTo>
                    <a:lnTo>
                      <a:pt x="39434" y="4118515"/>
                    </a:lnTo>
                    <a:cubicBezTo>
                      <a:pt x="39434" y="4107561"/>
                      <a:pt x="30575" y="4098798"/>
                      <a:pt x="19717" y="4098798"/>
                    </a:cubicBezTo>
                    <a:cubicBezTo>
                      <a:pt x="8763" y="4098798"/>
                      <a:pt x="0" y="4107656"/>
                      <a:pt x="0" y="4118515"/>
                    </a:cubicBezTo>
                    <a:lnTo>
                      <a:pt x="0" y="4295585"/>
                    </a:lnTo>
                    <a:cubicBezTo>
                      <a:pt x="0" y="4306443"/>
                      <a:pt x="8858" y="4315301"/>
                      <a:pt x="19717" y="4315301"/>
                    </a:cubicBezTo>
                    <a:close/>
                    <a:moveTo>
                      <a:pt x="19717" y="3606832"/>
                    </a:moveTo>
                    <a:cubicBezTo>
                      <a:pt x="30671" y="3606832"/>
                      <a:pt x="39434" y="3597974"/>
                      <a:pt x="39434" y="3587020"/>
                    </a:cubicBezTo>
                    <a:lnTo>
                      <a:pt x="39434" y="3409855"/>
                    </a:lnTo>
                    <a:cubicBezTo>
                      <a:pt x="39434" y="3398901"/>
                      <a:pt x="30575" y="3390138"/>
                      <a:pt x="19717" y="3390138"/>
                    </a:cubicBezTo>
                    <a:cubicBezTo>
                      <a:pt x="8763" y="3390138"/>
                      <a:pt x="0" y="3398996"/>
                      <a:pt x="0" y="3409855"/>
                    </a:cubicBezTo>
                    <a:lnTo>
                      <a:pt x="0" y="3587020"/>
                    </a:lnTo>
                    <a:cubicBezTo>
                      <a:pt x="0" y="3597974"/>
                      <a:pt x="8858" y="3606832"/>
                      <a:pt x="19717" y="3606832"/>
                    </a:cubicBezTo>
                    <a:close/>
                    <a:moveTo>
                      <a:pt x="19717" y="3252597"/>
                    </a:moveTo>
                    <a:cubicBezTo>
                      <a:pt x="30671" y="3252597"/>
                      <a:pt x="39434" y="3243739"/>
                      <a:pt x="39434" y="3232881"/>
                    </a:cubicBezTo>
                    <a:lnTo>
                      <a:pt x="39434" y="3055715"/>
                    </a:lnTo>
                    <a:cubicBezTo>
                      <a:pt x="39434" y="3044762"/>
                      <a:pt x="30575" y="3035999"/>
                      <a:pt x="19717" y="3035999"/>
                    </a:cubicBezTo>
                    <a:cubicBezTo>
                      <a:pt x="8763" y="3035999"/>
                      <a:pt x="0" y="3044857"/>
                      <a:pt x="0" y="3055715"/>
                    </a:cubicBezTo>
                    <a:lnTo>
                      <a:pt x="0" y="3232881"/>
                    </a:lnTo>
                    <a:cubicBezTo>
                      <a:pt x="0" y="3243739"/>
                      <a:pt x="8858" y="3252597"/>
                      <a:pt x="19717" y="3252597"/>
                    </a:cubicBezTo>
                    <a:close/>
                    <a:moveTo>
                      <a:pt x="5382292" y="3609594"/>
                    </a:moveTo>
                    <a:cubicBezTo>
                      <a:pt x="5371338" y="3609594"/>
                      <a:pt x="5362575" y="3618452"/>
                      <a:pt x="5362575" y="3629311"/>
                    </a:cubicBezTo>
                    <a:lnTo>
                      <a:pt x="5362575" y="3806381"/>
                    </a:lnTo>
                    <a:cubicBezTo>
                      <a:pt x="5362575" y="3817334"/>
                      <a:pt x="5371433" y="3826098"/>
                      <a:pt x="5382292" y="3826098"/>
                    </a:cubicBezTo>
                    <a:cubicBezTo>
                      <a:pt x="5393245" y="3826098"/>
                      <a:pt x="5402009" y="3817239"/>
                      <a:pt x="5402009" y="3806381"/>
                    </a:cubicBezTo>
                    <a:lnTo>
                      <a:pt x="5402009" y="3629311"/>
                    </a:lnTo>
                    <a:cubicBezTo>
                      <a:pt x="5402009" y="3618452"/>
                      <a:pt x="5393151" y="3609594"/>
                      <a:pt x="5382292" y="3609594"/>
                    </a:cubicBezTo>
                    <a:close/>
                    <a:moveTo>
                      <a:pt x="2919032" y="19717"/>
                    </a:moveTo>
                    <a:cubicBezTo>
                      <a:pt x="2919032" y="8763"/>
                      <a:pt x="2910173" y="0"/>
                      <a:pt x="2899315" y="0"/>
                    </a:cubicBezTo>
                    <a:lnTo>
                      <a:pt x="2722245" y="0"/>
                    </a:lnTo>
                    <a:cubicBezTo>
                      <a:pt x="2711291" y="0"/>
                      <a:pt x="2702528" y="8858"/>
                      <a:pt x="2702528" y="19717"/>
                    </a:cubicBezTo>
                    <a:cubicBezTo>
                      <a:pt x="2702528" y="30670"/>
                      <a:pt x="2711387" y="39434"/>
                      <a:pt x="2722245" y="39434"/>
                    </a:cubicBezTo>
                    <a:lnTo>
                      <a:pt x="2899315" y="39434"/>
                    </a:lnTo>
                    <a:cubicBezTo>
                      <a:pt x="2910173" y="39434"/>
                      <a:pt x="2919032" y="30670"/>
                      <a:pt x="2919032" y="19717"/>
                    </a:cubicBezTo>
                    <a:close/>
                    <a:moveTo>
                      <a:pt x="5382292" y="3963829"/>
                    </a:moveTo>
                    <a:cubicBezTo>
                      <a:pt x="5371338" y="3963829"/>
                      <a:pt x="5362575" y="3972687"/>
                      <a:pt x="5362575" y="3983546"/>
                    </a:cubicBezTo>
                    <a:lnTo>
                      <a:pt x="5362575" y="4160711"/>
                    </a:lnTo>
                    <a:cubicBezTo>
                      <a:pt x="5362575" y="4171664"/>
                      <a:pt x="5371433" y="4180427"/>
                      <a:pt x="5382292" y="4180427"/>
                    </a:cubicBezTo>
                    <a:cubicBezTo>
                      <a:pt x="5393245" y="4180427"/>
                      <a:pt x="5402009" y="4171569"/>
                      <a:pt x="5402009" y="4160711"/>
                    </a:cubicBezTo>
                    <a:lnTo>
                      <a:pt x="5402009" y="3983546"/>
                    </a:lnTo>
                    <a:cubicBezTo>
                      <a:pt x="5402009" y="3972687"/>
                      <a:pt x="5393151" y="3963829"/>
                      <a:pt x="5382292" y="3963829"/>
                    </a:cubicBezTo>
                    <a:close/>
                    <a:moveTo>
                      <a:pt x="5382292" y="4318064"/>
                    </a:moveTo>
                    <a:cubicBezTo>
                      <a:pt x="5371338" y="4318064"/>
                      <a:pt x="5362575" y="4326922"/>
                      <a:pt x="5362575" y="4337781"/>
                    </a:cubicBezTo>
                    <a:lnTo>
                      <a:pt x="5362575" y="4514945"/>
                    </a:lnTo>
                    <a:cubicBezTo>
                      <a:pt x="5362575" y="4525899"/>
                      <a:pt x="5371433" y="4534662"/>
                      <a:pt x="5382292" y="4534662"/>
                    </a:cubicBezTo>
                    <a:cubicBezTo>
                      <a:pt x="5393245" y="4534662"/>
                      <a:pt x="5402009" y="4525804"/>
                      <a:pt x="5402009" y="4514945"/>
                    </a:cubicBezTo>
                    <a:lnTo>
                      <a:pt x="5402009" y="4337781"/>
                    </a:lnTo>
                    <a:cubicBezTo>
                      <a:pt x="5402009" y="4326922"/>
                      <a:pt x="5393151" y="4318064"/>
                      <a:pt x="5382292" y="4318064"/>
                    </a:cubicBezTo>
                    <a:close/>
                    <a:moveTo>
                      <a:pt x="5382292" y="5026533"/>
                    </a:moveTo>
                    <a:cubicBezTo>
                      <a:pt x="5371338" y="5026533"/>
                      <a:pt x="5362575" y="5035392"/>
                      <a:pt x="5362575" y="5046250"/>
                    </a:cubicBezTo>
                    <a:lnTo>
                      <a:pt x="5362575" y="5202746"/>
                    </a:lnTo>
                    <a:cubicBezTo>
                      <a:pt x="5362575" y="5209413"/>
                      <a:pt x="5362480" y="5216081"/>
                      <a:pt x="5362194" y="5222748"/>
                    </a:cubicBezTo>
                    <a:cubicBezTo>
                      <a:pt x="5361813" y="5233607"/>
                      <a:pt x="5370290" y="5242846"/>
                      <a:pt x="5381244" y="5243227"/>
                    </a:cubicBezTo>
                    <a:cubicBezTo>
                      <a:pt x="5381435" y="5243227"/>
                      <a:pt x="5381721" y="5243227"/>
                      <a:pt x="5381911" y="5243227"/>
                    </a:cubicBezTo>
                    <a:cubicBezTo>
                      <a:pt x="5392484" y="5243227"/>
                      <a:pt x="5401247" y="5234845"/>
                      <a:pt x="5401628" y="5224177"/>
                    </a:cubicBezTo>
                    <a:cubicBezTo>
                      <a:pt x="5401914" y="5217129"/>
                      <a:pt x="5402009" y="5209985"/>
                      <a:pt x="5402009" y="5202841"/>
                    </a:cubicBezTo>
                    <a:lnTo>
                      <a:pt x="5402009" y="5046346"/>
                    </a:lnTo>
                    <a:cubicBezTo>
                      <a:pt x="5402009" y="5035392"/>
                      <a:pt x="5393151" y="5026533"/>
                      <a:pt x="5382292" y="5026533"/>
                    </a:cubicBezTo>
                    <a:close/>
                    <a:moveTo>
                      <a:pt x="5382292" y="4672299"/>
                    </a:moveTo>
                    <a:cubicBezTo>
                      <a:pt x="5371338" y="4672299"/>
                      <a:pt x="5362575" y="4681157"/>
                      <a:pt x="5362575" y="4692015"/>
                    </a:cubicBezTo>
                    <a:lnTo>
                      <a:pt x="5362575" y="4869085"/>
                    </a:lnTo>
                    <a:cubicBezTo>
                      <a:pt x="5362575" y="4880039"/>
                      <a:pt x="5371433" y="4888802"/>
                      <a:pt x="5382292" y="4888802"/>
                    </a:cubicBezTo>
                    <a:cubicBezTo>
                      <a:pt x="5393245" y="4888802"/>
                      <a:pt x="5402009" y="4879943"/>
                      <a:pt x="5402009" y="4869085"/>
                    </a:cubicBezTo>
                    <a:lnTo>
                      <a:pt x="5402009" y="4692015"/>
                    </a:lnTo>
                    <a:cubicBezTo>
                      <a:pt x="5402009" y="4681157"/>
                      <a:pt x="5393151" y="4672299"/>
                      <a:pt x="5382292" y="4672299"/>
                    </a:cubicBezTo>
                    <a:close/>
                    <a:moveTo>
                      <a:pt x="5382292" y="2901125"/>
                    </a:moveTo>
                    <a:cubicBezTo>
                      <a:pt x="5371338" y="2901125"/>
                      <a:pt x="5362575" y="2909983"/>
                      <a:pt x="5362575" y="2920841"/>
                    </a:cubicBezTo>
                    <a:lnTo>
                      <a:pt x="5362575" y="3097911"/>
                    </a:lnTo>
                    <a:cubicBezTo>
                      <a:pt x="5362575" y="3108865"/>
                      <a:pt x="5371433" y="3117628"/>
                      <a:pt x="5382292" y="3117628"/>
                    </a:cubicBezTo>
                    <a:cubicBezTo>
                      <a:pt x="5393245" y="3117628"/>
                      <a:pt x="5402009" y="3108769"/>
                      <a:pt x="5402009" y="3097911"/>
                    </a:cubicBezTo>
                    <a:lnTo>
                      <a:pt x="5402009" y="2920841"/>
                    </a:lnTo>
                    <a:cubicBezTo>
                      <a:pt x="5402009" y="2909983"/>
                      <a:pt x="5393151" y="2901125"/>
                      <a:pt x="5382292" y="2901125"/>
                    </a:cubicBezTo>
                    <a:close/>
                    <a:moveTo>
                      <a:pt x="5382292" y="2546890"/>
                    </a:moveTo>
                    <a:cubicBezTo>
                      <a:pt x="5371338" y="2546890"/>
                      <a:pt x="5362575" y="2555748"/>
                      <a:pt x="5362575" y="2566607"/>
                    </a:cubicBezTo>
                    <a:lnTo>
                      <a:pt x="5362575" y="2743772"/>
                    </a:lnTo>
                    <a:cubicBezTo>
                      <a:pt x="5362575" y="2754725"/>
                      <a:pt x="5371433" y="2763488"/>
                      <a:pt x="5382292" y="2763488"/>
                    </a:cubicBezTo>
                    <a:cubicBezTo>
                      <a:pt x="5393245" y="2763488"/>
                      <a:pt x="5402009" y="2754630"/>
                      <a:pt x="5402009" y="2743772"/>
                    </a:cubicBezTo>
                    <a:lnTo>
                      <a:pt x="5402009" y="2566607"/>
                    </a:lnTo>
                    <a:cubicBezTo>
                      <a:pt x="5402009" y="2555748"/>
                      <a:pt x="5393151" y="2546890"/>
                      <a:pt x="5382292" y="2546890"/>
                    </a:cubicBezTo>
                    <a:close/>
                    <a:moveTo>
                      <a:pt x="5382292" y="1129951"/>
                    </a:moveTo>
                    <a:cubicBezTo>
                      <a:pt x="5371338" y="1129951"/>
                      <a:pt x="5362575" y="1138809"/>
                      <a:pt x="5362575" y="1149668"/>
                    </a:cubicBezTo>
                    <a:lnTo>
                      <a:pt x="5362575" y="1326833"/>
                    </a:lnTo>
                    <a:cubicBezTo>
                      <a:pt x="5362575" y="1337786"/>
                      <a:pt x="5371433" y="1346549"/>
                      <a:pt x="5382292" y="1346549"/>
                    </a:cubicBezTo>
                    <a:cubicBezTo>
                      <a:pt x="5393245" y="1346549"/>
                      <a:pt x="5402009" y="1337691"/>
                      <a:pt x="5402009" y="1326833"/>
                    </a:cubicBezTo>
                    <a:lnTo>
                      <a:pt x="5402009" y="1149668"/>
                    </a:lnTo>
                    <a:cubicBezTo>
                      <a:pt x="5402009" y="1138809"/>
                      <a:pt x="5393151" y="1129951"/>
                      <a:pt x="5382292" y="1129951"/>
                    </a:cubicBezTo>
                    <a:close/>
                    <a:moveTo>
                      <a:pt x="5382292" y="775716"/>
                    </a:moveTo>
                    <a:cubicBezTo>
                      <a:pt x="5371338" y="775716"/>
                      <a:pt x="5362575" y="784574"/>
                      <a:pt x="5362575" y="795433"/>
                    </a:cubicBezTo>
                    <a:lnTo>
                      <a:pt x="5362575" y="972503"/>
                    </a:lnTo>
                    <a:cubicBezTo>
                      <a:pt x="5362575" y="983456"/>
                      <a:pt x="5371433" y="992219"/>
                      <a:pt x="5382292" y="992219"/>
                    </a:cubicBezTo>
                    <a:cubicBezTo>
                      <a:pt x="5393245" y="992219"/>
                      <a:pt x="5402009" y="983361"/>
                      <a:pt x="5402009" y="972503"/>
                    </a:cubicBezTo>
                    <a:lnTo>
                      <a:pt x="5402009" y="795528"/>
                    </a:lnTo>
                    <a:cubicBezTo>
                      <a:pt x="5402009" y="784574"/>
                      <a:pt x="5393151" y="775716"/>
                      <a:pt x="5382292" y="775716"/>
                    </a:cubicBezTo>
                    <a:close/>
                    <a:moveTo>
                      <a:pt x="5380387" y="437960"/>
                    </a:moveTo>
                    <a:cubicBezTo>
                      <a:pt x="5377434" y="427482"/>
                      <a:pt x="5366576" y="421291"/>
                      <a:pt x="5356098" y="424148"/>
                    </a:cubicBezTo>
                    <a:cubicBezTo>
                      <a:pt x="5345620" y="427101"/>
                      <a:pt x="5339430" y="437960"/>
                      <a:pt x="5342287" y="448437"/>
                    </a:cubicBezTo>
                    <a:cubicBezTo>
                      <a:pt x="5355718" y="496824"/>
                      <a:pt x="5362480" y="547116"/>
                      <a:pt x="5362480" y="597789"/>
                    </a:cubicBezTo>
                    <a:lnTo>
                      <a:pt x="5362480" y="618363"/>
                    </a:lnTo>
                    <a:cubicBezTo>
                      <a:pt x="5362480" y="629317"/>
                      <a:pt x="5371338" y="638080"/>
                      <a:pt x="5382197" y="638080"/>
                    </a:cubicBezTo>
                    <a:cubicBezTo>
                      <a:pt x="5393151" y="638080"/>
                      <a:pt x="5401914" y="629222"/>
                      <a:pt x="5401914" y="618363"/>
                    </a:cubicBezTo>
                    <a:lnTo>
                      <a:pt x="5401914" y="597789"/>
                    </a:lnTo>
                    <a:cubicBezTo>
                      <a:pt x="5402009" y="543497"/>
                      <a:pt x="5394770" y="489776"/>
                      <a:pt x="5380387" y="437960"/>
                    </a:cubicBezTo>
                    <a:close/>
                    <a:moveTo>
                      <a:pt x="5382292" y="2192655"/>
                    </a:moveTo>
                    <a:cubicBezTo>
                      <a:pt x="5371338" y="2192655"/>
                      <a:pt x="5362575" y="2201513"/>
                      <a:pt x="5362575" y="2212372"/>
                    </a:cubicBezTo>
                    <a:lnTo>
                      <a:pt x="5362575" y="2389537"/>
                    </a:lnTo>
                    <a:cubicBezTo>
                      <a:pt x="5362575" y="2400491"/>
                      <a:pt x="5371433" y="2409254"/>
                      <a:pt x="5382292" y="2409254"/>
                    </a:cubicBezTo>
                    <a:cubicBezTo>
                      <a:pt x="5393245" y="2409254"/>
                      <a:pt x="5402009" y="2400395"/>
                      <a:pt x="5402009" y="2389537"/>
                    </a:cubicBezTo>
                    <a:lnTo>
                      <a:pt x="5402009" y="2212372"/>
                    </a:lnTo>
                    <a:cubicBezTo>
                      <a:pt x="5402009" y="2201513"/>
                      <a:pt x="5393151" y="2192655"/>
                      <a:pt x="5382292" y="2192655"/>
                    </a:cubicBezTo>
                    <a:close/>
                    <a:moveTo>
                      <a:pt x="5355622" y="5378101"/>
                    </a:moveTo>
                    <a:cubicBezTo>
                      <a:pt x="5345335" y="5374386"/>
                      <a:pt x="5334000" y="5379815"/>
                      <a:pt x="5330381" y="5390102"/>
                    </a:cubicBezTo>
                    <a:cubicBezTo>
                      <a:pt x="5311235" y="5443919"/>
                      <a:pt x="5283994" y="5494306"/>
                      <a:pt x="5249323" y="5539931"/>
                    </a:cubicBezTo>
                    <a:cubicBezTo>
                      <a:pt x="5242751" y="5548599"/>
                      <a:pt x="5244465" y="5560981"/>
                      <a:pt x="5253133" y="5567649"/>
                    </a:cubicBezTo>
                    <a:cubicBezTo>
                      <a:pt x="5256753" y="5570315"/>
                      <a:pt x="5260944" y="5571649"/>
                      <a:pt x="5265039" y="5571649"/>
                    </a:cubicBezTo>
                    <a:cubicBezTo>
                      <a:pt x="5271040" y="5571649"/>
                      <a:pt x="5276946" y="5568982"/>
                      <a:pt x="5280755" y="5563838"/>
                    </a:cubicBezTo>
                    <a:cubicBezTo>
                      <a:pt x="5317808" y="5514975"/>
                      <a:pt x="5347049" y="5460968"/>
                      <a:pt x="5367528" y="5403342"/>
                    </a:cubicBezTo>
                    <a:cubicBezTo>
                      <a:pt x="5371243" y="5393055"/>
                      <a:pt x="5365909" y="5381720"/>
                      <a:pt x="5355622" y="5378101"/>
                    </a:cubicBezTo>
                    <a:close/>
                    <a:moveTo>
                      <a:pt x="5382292" y="1838420"/>
                    </a:moveTo>
                    <a:cubicBezTo>
                      <a:pt x="5371338" y="1838420"/>
                      <a:pt x="5362575" y="1847279"/>
                      <a:pt x="5362575" y="1858137"/>
                    </a:cubicBezTo>
                    <a:lnTo>
                      <a:pt x="5362575" y="2035207"/>
                    </a:lnTo>
                    <a:cubicBezTo>
                      <a:pt x="5362575" y="2046161"/>
                      <a:pt x="5371433" y="2054924"/>
                      <a:pt x="5382292" y="2054924"/>
                    </a:cubicBezTo>
                    <a:cubicBezTo>
                      <a:pt x="5393245" y="2054924"/>
                      <a:pt x="5402009" y="2046065"/>
                      <a:pt x="5402009" y="2035207"/>
                    </a:cubicBezTo>
                    <a:lnTo>
                      <a:pt x="5402009" y="1858137"/>
                    </a:lnTo>
                    <a:cubicBezTo>
                      <a:pt x="5402009" y="1847279"/>
                      <a:pt x="5393151" y="1838420"/>
                      <a:pt x="5382292" y="1838420"/>
                    </a:cubicBezTo>
                    <a:close/>
                    <a:moveTo>
                      <a:pt x="5382292" y="1484186"/>
                    </a:moveTo>
                    <a:cubicBezTo>
                      <a:pt x="5371338" y="1484186"/>
                      <a:pt x="5362575" y="1493044"/>
                      <a:pt x="5362575" y="1503902"/>
                    </a:cubicBezTo>
                    <a:lnTo>
                      <a:pt x="5362575" y="1681067"/>
                    </a:lnTo>
                    <a:cubicBezTo>
                      <a:pt x="5362575" y="1692021"/>
                      <a:pt x="5371433" y="1700784"/>
                      <a:pt x="5382292" y="1700784"/>
                    </a:cubicBezTo>
                    <a:cubicBezTo>
                      <a:pt x="5393245" y="1700784"/>
                      <a:pt x="5402009" y="1691926"/>
                      <a:pt x="5402009" y="1681067"/>
                    </a:cubicBezTo>
                    <a:lnTo>
                      <a:pt x="5402009" y="1503902"/>
                    </a:lnTo>
                    <a:cubicBezTo>
                      <a:pt x="5402009" y="1493044"/>
                      <a:pt x="5393151" y="1484186"/>
                      <a:pt x="5382292" y="1484186"/>
                    </a:cubicBezTo>
                    <a:close/>
                    <a:moveTo>
                      <a:pt x="5382292" y="3255359"/>
                    </a:moveTo>
                    <a:cubicBezTo>
                      <a:pt x="5371338" y="3255359"/>
                      <a:pt x="5362575" y="3264218"/>
                      <a:pt x="5362575" y="3275076"/>
                    </a:cubicBezTo>
                    <a:lnTo>
                      <a:pt x="5362575" y="3452241"/>
                    </a:lnTo>
                    <a:cubicBezTo>
                      <a:pt x="5362575" y="3463195"/>
                      <a:pt x="5371433" y="3471958"/>
                      <a:pt x="5382292" y="3471958"/>
                    </a:cubicBezTo>
                    <a:cubicBezTo>
                      <a:pt x="5393245" y="3471958"/>
                      <a:pt x="5402009" y="3463100"/>
                      <a:pt x="5402009" y="3452241"/>
                    </a:cubicBezTo>
                    <a:lnTo>
                      <a:pt x="5402009" y="3275076"/>
                    </a:lnTo>
                    <a:cubicBezTo>
                      <a:pt x="5402009" y="3264218"/>
                      <a:pt x="5393151" y="3255359"/>
                      <a:pt x="5382292" y="3255359"/>
                    </a:cubicBezTo>
                    <a:close/>
                    <a:moveTo>
                      <a:pt x="5288756" y="302228"/>
                    </a:moveTo>
                    <a:cubicBezTo>
                      <a:pt x="5292471" y="302228"/>
                      <a:pt x="5296186" y="301181"/>
                      <a:pt x="5299520" y="298990"/>
                    </a:cubicBezTo>
                    <a:cubicBezTo>
                      <a:pt x="5308664" y="292989"/>
                      <a:pt x="5311235" y="280797"/>
                      <a:pt x="5305235" y="271653"/>
                    </a:cubicBezTo>
                    <a:cubicBezTo>
                      <a:pt x="5271802" y="220409"/>
                      <a:pt x="5230844" y="174689"/>
                      <a:pt x="5183505" y="135827"/>
                    </a:cubicBezTo>
                    <a:cubicBezTo>
                      <a:pt x="5175123" y="128873"/>
                      <a:pt x="5162646" y="130111"/>
                      <a:pt x="5155693" y="138589"/>
                    </a:cubicBezTo>
                    <a:cubicBezTo>
                      <a:pt x="5148739" y="146971"/>
                      <a:pt x="5149977" y="159449"/>
                      <a:pt x="5158455" y="166402"/>
                    </a:cubicBezTo>
                    <a:cubicBezTo>
                      <a:pt x="5202651" y="202787"/>
                      <a:pt x="5240941" y="245459"/>
                      <a:pt x="5272088" y="293370"/>
                    </a:cubicBezTo>
                    <a:cubicBezTo>
                      <a:pt x="5275993" y="299085"/>
                      <a:pt x="5282280" y="302228"/>
                      <a:pt x="5288756" y="302228"/>
                    </a:cubicBezTo>
                    <a:close/>
                    <a:moveTo>
                      <a:pt x="3627501" y="19717"/>
                    </a:moveTo>
                    <a:cubicBezTo>
                      <a:pt x="3627501" y="8763"/>
                      <a:pt x="3618643" y="0"/>
                      <a:pt x="3607784" y="0"/>
                    </a:cubicBezTo>
                    <a:lnTo>
                      <a:pt x="3430715" y="0"/>
                    </a:lnTo>
                    <a:cubicBezTo>
                      <a:pt x="3419761" y="0"/>
                      <a:pt x="3410998" y="8858"/>
                      <a:pt x="3410998" y="19717"/>
                    </a:cubicBezTo>
                    <a:cubicBezTo>
                      <a:pt x="3410998" y="30670"/>
                      <a:pt x="3419856" y="39434"/>
                      <a:pt x="3430715" y="39434"/>
                    </a:cubicBezTo>
                    <a:lnTo>
                      <a:pt x="3607784" y="39434"/>
                    </a:lnTo>
                    <a:cubicBezTo>
                      <a:pt x="3618643" y="39434"/>
                      <a:pt x="3627501" y="30670"/>
                      <a:pt x="3627501" y="19717"/>
                    </a:cubicBezTo>
                    <a:close/>
                    <a:moveTo>
                      <a:pt x="3981736" y="19717"/>
                    </a:moveTo>
                    <a:cubicBezTo>
                      <a:pt x="3981736" y="8763"/>
                      <a:pt x="3972878" y="0"/>
                      <a:pt x="3962019" y="0"/>
                    </a:cubicBezTo>
                    <a:lnTo>
                      <a:pt x="3784854" y="0"/>
                    </a:lnTo>
                    <a:cubicBezTo>
                      <a:pt x="3773900" y="0"/>
                      <a:pt x="3765137" y="8858"/>
                      <a:pt x="3765137" y="19717"/>
                    </a:cubicBezTo>
                    <a:cubicBezTo>
                      <a:pt x="3765137" y="30670"/>
                      <a:pt x="3773996" y="39434"/>
                      <a:pt x="3784854" y="39434"/>
                    </a:cubicBezTo>
                    <a:lnTo>
                      <a:pt x="3962019" y="39434"/>
                    </a:lnTo>
                    <a:cubicBezTo>
                      <a:pt x="3972878" y="39434"/>
                      <a:pt x="3981736" y="30670"/>
                      <a:pt x="3981736" y="19717"/>
                    </a:cubicBezTo>
                    <a:close/>
                    <a:moveTo>
                      <a:pt x="3741420" y="5761101"/>
                    </a:moveTo>
                    <a:lnTo>
                      <a:pt x="3564255" y="5761101"/>
                    </a:lnTo>
                    <a:cubicBezTo>
                      <a:pt x="3553301" y="5761101"/>
                      <a:pt x="3544538" y="5769959"/>
                      <a:pt x="3544538" y="5780818"/>
                    </a:cubicBezTo>
                    <a:cubicBezTo>
                      <a:pt x="3544538" y="5791772"/>
                      <a:pt x="3553397" y="5800535"/>
                      <a:pt x="3564255" y="5800535"/>
                    </a:cubicBezTo>
                    <a:lnTo>
                      <a:pt x="3741420" y="5800535"/>
                    </a:lnTo>
                    <a:cubicBezTo>
                      <a:pt x="3752374" y="5800535"/>
                      <a:pt x="3761137" y="5791677"/>
                      <a:pt x="3761137" y="5780818"/>
                    </a:cubicBezTo>
                    <a:cubicBezTo>
                      <a:pt x="3761232" y="5769959"/>
                      <a:pt x="3752374" y="5761101"/>
                      <a:pt x="3741420" y="5761101"/>
                    </a:cubicBezTo>
                    <a:close/>
                    <a:moveTo>
                      <a:pt x="3032951" y="5761101"/>
                    </a:moveTo>
                    <a:lnTo>
                      <a:pt x="2855881" y="5761101"/>
                    </a:lnTo>
                    <a:cubicBezTo>
                      <a:pt x="2844927" y="5761101"/>
                      <a:pt x="2836164" y="5769959"/>
                      <a:pt x="2836164" y="5780818"/>
                    </a:cubicBezTo>
                    <a:cubicBezTo>
                      <a:pt x="2836164" y="5791772"/>
                      <a:pt x="2845022" y="5800535"/>
                      <a:pt x="2855881" y="5800535"/>
                    </a:cubicBezTo>
                    <a:lnTo>
                      <a:pt x="3032951" y="5800535"/>
                    </a:lnTo>
                    <a:cubicBezTo>
                      <a:pt x="3043904" y="5800535"/>
                      <a:pt x="3052667" y="5791677"/>
                      <a:pt x="3052667" y="5780818"/>
                    </a:cubicBezTo>
                    <a:cubicBezTo>
                      <a:pt x="3052763" y="5769959"/>
                      <a:pt x="3043904" y="5761101"/>
                      <a:pt x="3032951" y="5761101"/>
                    </a:cubicBezTo>
                    <a:close/>
                    <a:moveTo>
                      <a:pt x="3387185" y="5761101"/>
                    </a:moveTo>
                    <a:lnTo>
                      <a:pt x="3210116" y="5761101"/>
                    </a:lnTo>
                    <a:cubicBezTo>
                      <a:pt x="3199162" y="5761101"/>
                      <a:pt x="3190399" y="5769959"/>
                      <a:pt x="3190399" y="5780818"/>
                    </a:cubicBezTo>
                    <a:cubicBezTo>
                      <a:pt x="3190399" y="5791772"/>
                      <a:pt x="3199257" y="5800535"/>
                      <a:pt x="3210116" y="5800535"/>
                    </a:cubicBezTo>
                    <a:lnTo>
                      <a:pt x="3387185" y="5800535"/>
                    </a:lnTo>
                    <a:cubicBezTo>
                      <a:pt x="3398139" y="5800535"/>
                      <a:pt x="3406902" y="5791677"/>
                      <a:pt x="3406902" y="5780818"/>
                    </a:cubicBezTo>
                    <a:cubicBezTo>
                      <a:pt x="3406997" y="5769959"/>
                      <a:pt x="3398139" y="5761101"/>
                      <a:pt x="3387185" y="5761101"/>
                    </a:cubicBezTo>
                    <a:close/>
                    <a:moveTo>
                      <a:pt x="3273266" y="19717"/>
                    </a:moveTo>
                    <a:cubicBezTo>
                      <a:pt x="3273266" y="8763"/>
                      <a:pt x="3264408" y="0"/>
                      <a:pt x="3253549" y="0"/>
                    </a:cubicBezTo>
                    <a:lnTo>
                      <a:pt x="3076480" y="0"/>
                    </a:lnTo>
                    <a:cubicBezTo>
                      <a:pt x="3065526" y="0"/>
                      <a:pt x="3056763" y="8858"/>
                      <a:pt x="3056763" y="19717"/>
                    </a:cubicBezTo>
                    <a:cubicBezTo>
                      <a:pt x="3056763" y="30670"/>
                      <a:pt x="3065621" y="39434"/>
                      <a:pt x="3076480" y="39434"/>
                    </a:cubicBezTo>
                    <a:lnTo>
                      <a:pt x="3253549" y="39434"/>
                    </a:lnTo>
                    <a:cubicBezTo>
                      <a:pt x="3264408" y="39434"/>
                      <a:pt x="3273266" y="30670"/>
                      <a:pt x="3273266" y="19717"/>
                    </a:cubicBezTo>
                    <a:close/>
                    <a:moveTo>
                      <a:pt x="4095655" y="5761101"/>
                    </a:moveTo>
                    <a:lnTo>
                      <a:pt x="3918490" y="5761101"/>
                    </a:lnTo>
                    <a:cubicBezTo>
                      <a:pt x="3907536" y="5761101"/>
                      <a:pt x="3898773" y="5769959"/>
                      <a:pt x="3898773" y="5780818"/>
                    </a:cubicBezTo>
                    <a:cubicBezTo>
                      <a:pt x="3898773" y="5791772"/>
                      <a:pt x="3907631" y="5800535"/>
                      <a:pt x="3918490" y="5800535"/>
                    </a:cubicBezTo>
                    <a:lnTo>
                      <a:pt x="4095655" y="5800535"/>
                    </a:lnTo>
                    <a:cubicBezTo>
                      <a:pt x="4106609" y="5800535"/>
                      <a:pt x="4115372" y="5791677"/>
                      <a:pt x="4115372" y="5780818"/>
                    </a:cubicBezTo>
                    <a:cubicBezTo>
                      <a:pt x="4115467" y="5769959"/>
                      <a:pt x="4106609" y="5761101"/>
                      <a:pt x="4095655" y="5761101"/>
                    </a:cubicBezTo>
                    <a:close/>
                    <a:moveTo>
                      <a:pt x="5019389" y="80867"/>
                    </a:moveTo>
                    <a:cubicBezTo>
                      <a:pt x="5027200" y="80867"/>
                      <a:pt x="5034630" y="76200"/>
                      <a:pt x="5037773" y="68485"/>
                    </a:cubicBezTo>
                    <a:cubicBezTo>
                      <a:pt x="5041869" y="58388"/>
                      <a:pt x="5036915" y="46863"/>
                      <a:pt x="5026819" y="42767"/>
                    </a:cubicBezTo>
                    <a:cubicBezTo>
                      <a:pt x="4970050" y="20003"/>
                      <a:pt x="4910328" y="6191"/>
                      <a:pt x="4849082" y="1619"/>
                    </a:cubicBezTo>
                    <a:cubicBezTo>
                      <a:pt x="4838224" y="857"/>
                      <a:pt x="4828699" y="8954"/>
                      <a:pt x="4827937" y="19907"/>
                    </a:cubicBezTo>
                    <a:cubicBezTo>
                      <a:pt x="4827175" y="30766"/>
                      <a:pt x="4835271" y="40291"/>
                      <a:pt x="4846225" y="41053"/>
                    </a:cubicBezTo>
                    <a:cubicBezTo>
                      <a:pt x="4903375" y="45244"/>
                      <a:pt x="4959192" y="58198"/>
                      <a:pt x="5012151" y="79439"/>
                    </a:cubicBezTo>
                    <a:cubicBezTo>
                      <a:pt x="5014437" y="80391"/>
                      <a:pt x="5016913" y="80867"/>
                      <a:pt x="5019389" y="80867"/>
                    </a:cubicBezTo>
                    <a:close/>
                    <a:moveTo>
                      <a:pt x="4806410" y="5761101"/>
                    </a:moveTo>
                    <a:lnTo>
                      <a:pt x="4627055" y="5761101"/>
                    </a:lnTo>
                    <a:cubicBezTo>
                      <a:pt x="4616101" y="5761101"/>
                      <a:pt x="4607338" y="5769959"/>
                      <a:pt x="4607338" y="5780818"/>
                    </a:cubicBezTo>
                    <a:cubicBezTo>
                      <a:pt x="4607338" y="5791772"/>
                      <a:pt x="4616196" y="5800535"/>
                      <a:pt x="4627055" y="5800535"/>
                    </a:cubicBezTo>
                    <a:lnTo>
                      <a:pt x="4804410" y="5800535"/>
                    </a:lnTo>
                    <a:lnTo>
                      <a:pt x="4806315" y="5800535"/>
                    </a:lnTo>
                    <a:cubicBezTo>
                      <a:pt x="4817269" y="5800535"/>
                      <a:pt x="4826032" y="5791677"/>
                      <a:pt x="4826032" y="5780818"/>
                    </a:cubicBezTo>
                    <a:cubicBezTo>
                      <a:pt x="4826127" y="5769959"/>
                      <a:pt x="4817269" y="5761101"/>
                      <a:pt x="4806410" y="5761101"/>
                    </a:cubicBezTo>
                    <a:close/>
                    <a:moveTo>
                      <a:pt x="4335971" y="19717"/>
                    </a:moveTo>
                    <a:cubicBezTo>
                      <a:pt x="4335971" y="8763"/>
                      <a:pt x="4327113" y="0"/>
                      <a:pt x="4316254" y="0"/>
                    </a:cubicBezTo>
                    <a:lnTo>
                      <a:pt x="4139184" y="0"/>
                    </a:lnTo>
                    <a:cubicBezTo>
                      <a:pt x="4128230" y="0"/>
                      <a:pt x="4119467" y="8858"/>
                      <a:pt x="4119467" y="19717"/>
                    </a:cubicBezTo>
                    <a:cubicBezTo>
                      <a:pt x="4119467" y="30670"/>
                      <a:pt x="4128326" y="39434"/>
                      <a:pt x="4139184" y="39434"/>
                    </a:cubicBezTo>
                    <a:lnTo>
                      <a:pt x="4316254" y="39434"/>
                    </a:lnTo>
                    <a:cubicBezTo>
                      <a:pt x="4327113" y="39434"/>
                      <a:pt x="4335971" y="30670"/>
                      <a:pt x="4335971" y="19717"/>
                    </a:cubicBezTo>
                    <a:close/>
                    <a:moveTo>
                      <a:pt x="5126927" y="5658422"/>
                    </a:moveTo>
                    <a:cubicBezTo>
                      <a:pt x="5080159" y="5691569"/>
                      <a:pt x="5028914" y="5717191"/>
                      <a:pt x="4974622" y="5734622"/>
                    </a:cubicBezTo>
                    <a:cubicBezTo>
                      <a:pt x="4964240" y="5737956"/>
                      <a:pt x="4958525" y="5749100"/>
                      <a:pt x="4961858" y="5759482"/>
                    </a:cubicBezTo>
                    <a:cubicBezTo>
                      <a:pt x="4964526" y="5767864"/>
                      <a:pt x="4972336" y="5773198"/>
                      <a:pt x="4980718" y="5773198"/>
                    </a:cubicBezTo>
                    <a:cubicBezTo>
                      <a:pt x="4982718" y="5773198"/>
                      <a:pt x="4984719" y="5772912"/>
                      <a:pt x="4986719" y="5772245"/>
                    </a:cubicBezTo>
                    <a:cubicBezTo>
                      <a:pt x="5044917" y="5753577"/>
                      <a:pt x="5099876" y="5726145"/>
                      <a:pt x="5149882" y="5690616"/>
                    </a:cubicBezTo>
                    <a:cubicBezTo>
                      <a:pt x="5158740" y="5684330"/>
                      <a:pt x="5160931" y="5671947"/>
                      <a:pt x="5154549" y="5663089"/>
                    </a:cubicBezTo>
                    <a:cubicBezTo>
                      <a:pt x="5148167" y="5654231"/>
                      <a:pt x="5135785" y="5652135"/>
                      <a:pt x="5126927" y="5658422"/>
                    </a:cubicBezTo>
                    <a:close/>
                    <a:moveTo>
                      <a:pt x="4690206" y="19717"/>
                    </a:moveTo>
                    <a:cubicBezTo>
                      <a:pt x="4690206" y="8763"/>
                      <a:pt x="4681347" y="0"/>
                      <a:pt x="4670489" y="0"/>
                    </a:cubicBezTo>
                    <a:lnTo>
                      <a:pt x="4493419" y="0"/>
                    </a:lnTo>
                    <a:cubicBezTo>
                      <a:pt x="4482465" y="0"/>
                      <a:pt x="4473702" y="8858"/>
                      <a:pt x="4473702" y="19717"/>
                    </a:cubicBezTo>
                    <a:cubicBezTo>
                      <a:pt x="4473702" y="30670"/>
                      <a:pt x="4482560" y="39434"/>
                      <a:pt x="4493419" y="39434"/>
                    </a:cubicBezTo>
                    <a:lnTo>
                      <a:pt x="4670489" y="39434"/>
                    </a:lnTo>
                    <a:cubicBezTo>
                      <a:pt x="4681347" y="39434"/>
                      <a:pt x="4690206" y="30670"/>
                      <a:pt x="4690206" y="19717"/>
                    </a:cubicBezTo>
                    <a:close/>
                    <a:moveTo>
                      <a:pt x="4449890" y="5761101"/>
                    </a:moveTo>
                    <a:lnTo>
                      <a:pt x="4272820" y="5761101"/>
                    </a:lnTo>
                    <a:cubicBezTo>
                      <a:pt x="4261866" y="5761101"/>
                      <a:pt x="4253103" y="5769959"/>
                      <a:pt x="4253103" y="5780818"/>
                    </a:cubicBezTo>
                    <a:cubicBezTo>
                      <a:pt x="4253103" y="5791772"/>
                      <a:pt x="4261962" y="5800535"/>
                      <a:pt x="4272820" y="5800535"/>
                    </a:cubicBezTo>
                    <a:lnTo>
                      <a:pt x="4449890" y="5800535"/>
                    </a:lnTo>
                    <a:cubicBezTo>
                      <a:pt x="4460843" y="5800535"/>
                      <a:pt x="4469606" y="5791677"/>
                      <a:pt x="4469606" y="5780818"/>
                    </a:cubicBezTo>
                    <a:cubicBezTo>
                      <a:pt x="4469702" y="5769959"/>
                      <a:pt x="4460843" y="5761101"/>
                      <a:pt x="4449890" y="5761101"/>
                    </a:cubicBez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446"/>
                <a:endParaRPr lang="en-GB">
                  <a:solidFill>
                    <a:srgbClr val="000000"/>
                  </a:solidFill>
                  <a:latin typeface="Novo Apply Sans"/>
                </a:endParaRPr>
              </a:p>
            </p:txBody>
          </p:sp>
          <p:grpSp>
            <p:nvGrpSpPr>
              <p:cNvPr id="41" name="Graphic 383">
                <a:extLst>
                  <a:ext uri="{FF2B5EF4-FFF2-40B4-BE49-F238E27FC236}">
                    <a16:creationId xmlns:a16="http://schemas.microsoft.com/office/drawing/2014/main" id="{C01B6B4C-F19B-4721-805B-2F5E5079C575}"/>
                  </a:ext>
                </a:extLst>
              </p:cNvPr>
              <p:cNvGrpSpPr/>
              <p:nvPr/>
            </p:nvGrpSpPr>
            <p:grpSpPr>
              <a:xfrm>
                <a:off x="9497335" y="4343400"/>
                <a:ext cx="665705" cy="1692866"/>
                <a:chOff x="9961530" y="2185987"/>
                <a:chExt cx="2327719" cy="5919311"/>
              </a:xfrm>
              <a:solidFill>
                <a:srgbClr val="FBB03B"/>
              </a:solidFill>
            </p:grpSpPr>
            <p:sp>
              <p:nvSpPr>
                <p:cNvPr id="42" name="Freeform: Shape 41">
                  <a:extLst>
                    <a:ext uri="{FF2B5EF4-FFF2-40B4-BE49-F238E27FC236}">
                      <a16:creationId xmlns:a16="http://schemas.microsoft.com/office/drawing/2014/main" id="{5AA9EAD2-F21A-4D12-8B45-0FAC78C0D7F7}"/>
                    </a:ext>
                  </a:extLst>
                </p:cNvPr>
                <p:cNvSpPr/>
                <p:nvPr/>
              </p:nvSpPr>
              <p:spPr>
                <a:xfrm>
                  <a:off x="9961530" y="2185987"/>
                  <a:ext cx="1500473" cy="5919311"/>
                </a:xfrm>
                <a:custGeom>
                  <a:avLst/>
                  <a:gdLst>
                    <a:gd name="connsiteX0" fmla="*/ 843344 w 1500473"/>
                    <a:gd name="connsiteY0" fmla="*/ 5919312 h 5919311"/>
                    <a:gd name="connsiteX1" fmla="*/ 0 w 1500473"/>
                    <a:gd name="connsiteY1" fmla="*/ 5919312 h 5919311"/>
                    <a:gd name="connsiteX2" fmla="*/ 0 w 1500473"/>
                    <a:gd name="connsiteY2" fmla="*/ 5761196 h 5919311"/>
                    <a:gd name="connsiteX3" fmla="*/ 843344 w 1500473"/>
                    <a:gd name="connsiteY3" fmla="*/ 5761196 h 5919311"/>
                    <a:gd name="connsiteX4" fmla="*/ 1342359 w 1500473"/>
                    <a:gd name="connsiteY4" fmla="*/ 5262182 h 5919311"/>
                    <a:gd name="connsiteX5" fmla="*/ 1342359 w 1500473"/>
                    <a:gd name="connsiteY5" fmla="*/ 657130 h 5919311"/>
                    <a:gd name="connsiteX6" fmla="*/ 843344 w 1500473"/>
                    <a:gd name="connsiteY6" fmla="*/ 158020 h 5919311"/>
                    <a:gd name="connsiteX7" fmla="*/ 3239 w 1500473"/>
                    <a:gd name="connsiteY7" fmla="*/ 158020 h 5919311"/>
                    <a:gd name="connsiteX8" fmla="*/ 3239 w 1500473"/>
                    <a:gd name="connsiteY8" fmla="*/ 0 h 5919311"/>
                    <a:gd name="connsiteX9" fmla="*/ 843344 w 1500473"/>
                    <a:gd name="connsiteY9" fmla="*/ 0 h 5919311"/>
                    <a:gd name="connsiteX10" fmla="*/ 1500473 w 1500473"/>
                    <a:gd name="connsiteY10" fmla="*/ 657130 h 5919311"/>
                    <a:gd name="connsiteX11" fmla="*/ 1500473 w 1500473"/>
                    <a:gd name="connsiteY11" fmla="*/ 5262087 h 5919311"/>
                    <a:gd name="connsiteX12" fmla="*/ 843344 w 1500473"/>
                    <a:gd name="connsiteY12" fmla="*/ 5919312 h 59193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500473" h="5919311">
                      <a:moveTo>
                        <a:pt x="843344" y="5919312"/>
                      </a:moveTo>
                      <a:lnTo>
                        <a:pt x="0" y="5919312"/>
                      </a:lnTo>
                      <a:lnTo>
                        <a:pt x="0" y="5761196"/>
                      </a:lnTo>
                      <a:lnTo>
                        <a:pt x="843344" y="5761196"/>
                      </a:lnTo>
                      <a:cubicBezTo>
                        <a:pt x="1118521" y="5761196"/>
                        <a:pt x="1342359" y="5537359"/>
                        <a:pt x="1342359" y="5262182"/>
                      </a:cubicBezTo>
                      <a:lnTo>
                        <a:pt x="1342359" y="657130"/>
                      </a:lnTo>
                      <a:cubicBezTo>
                        <a:pt x="1342359" y="381953"/>
                        <a:pt x="1118521" y="158020"/>
                        <a:pt x="843344" y="158020"/>
                      </a:cubicBezTo>
                      <a:lnTo>
                        <a:pt x="3239" y="158020"/>
                      </a:lnTo>
                      <a:lnTo>
                        <a:pt x="3239" y="0"/>
                      </a:lnTo>
                      <a:lnTo>
                        <a:pt x="843344" y="0"/>
                      </a:lnTo>
                      <a:cubicBezTo>
                        <a:pt x="1205674" y="0"/>
                        <a:pt x="1500473" y="294799"/>
                        <a:pt x="1500473" y="657130"/>
                      </a:cubicBezTo>
                      <a:lnTo>
                        <a:pt x="1500473" y="5262087"/>
                      </a:lnTo>
                      <a:cubicBezTo>
                        <a:pt x="1500569" y="5624513"/>
                        <a:pt x="1205770" y="5919312"/>
                        <a:pt x="843344" y="5919312"/>
                      </a:cubicBezTo>
                      <a:close/>
                    </a:path>
                  </a:pathLst>
                </a:custGeom>
                <a:solidFill>
                  <a:schemeClr val="accent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914446"/>
                  <a:endParaRPr lang="en-GB">
                    <a:solidFill>
                      <a:srgbClr val="000000"/>
                    </a:solidFill>
                    <a:latin typeface="Novo Apply Sans"/>
                  </a:endParaRPr>
                </a:p>
              </p:txBody>
            </p:sp>
            <p:sp>
              <p:nvSpPr>
                <p:cNvPr id="43" name="Freeform: Shape 42">
                  <a:extLst>
                    <a:ext uri="{FF2B5EF4-FFF2-40B4-BE49-F238E27FC236}">
                      <a16:creationId xmlns:a16="http://schemas.microsoft.com/office/drawing/2014/main" id="{E5FC7A3C-BFE9-4447-8FA4-4BB652EF65AF}"/>
                    </a:ext>
                  </a:extLst>
                </p:cNvPr>
                <p:cNvSpPr/>
                <p:nvPr/>
              </p:nvSpPr>
              <p:spPr>
                <a:xfrm>
                  <a:off x="11775852" y="4835842"/>
                  <a:ext cx="513397" cy="621315"/>
                </a:xfrm>
                <a:custGeom>
                  <a:avLst/>
                  <a:gdLst>
                    <a:gd name="connsiteX0" fmla="*/ 513398 w 513397"/>
                    <a:gd name="connsiteY0" fmla="*/ 310610 h 621315"/>
                    <a:gd name="connsiteX1" fmla="*/ 0 w 513397"/>
                    <a:gd name="connsiteY1" fmla="*/ 0 h 621315"/>
                    <a:gd name="connsiteX2" fmla="*/ 0 w 513397"/>
                    <a:gd name="connsiteY2" fmla="*/ 621316 h 6213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13397" h="621315">
                      <a:moveTo>
                        <a:pt x="513398" y="310610"/>
                      </a:moveTo>
                      <a:lnTo>
                        <a:pt x="0" y="0"/>
                      </a:lnTo>
                      <a:lnTo>
                        <a:pt x="0" y="621316"/>
                      </a:lnTo>
                      <a:close/>
                    </a:path>
                  </a:pathLst>
                </a:custGeom>
                <a:solidFill>
                  <a:schemeClr val="accent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914446"/>
                  <a:endParaRPr lang="en-GB">
                    <a:solidFill>
                      <a:srgbClr val="000000"/>
                    </a:solidFill>
                    <a:latin typeface="Novo Apply Sans"/>
                  </a:endParaRPr>
                </a:p>
              </p:txBody>
            </p:sp>
            <p:sp>
              <p:nvSpPr>
                <p:cNvPr id="44" name="Freeform: Shape 43">
                  <a:extLst>
                    <a:ext uri="{FF2B5EF4-FFF2-40B4-BE49-F238E27FC236}">
                      <a16:creationId xmlns:a16="http://schemas.microsoft.com/office/drawing/2014/main" id="{27E9A9C6-C7D1-4635-8CC4-B542D9921906}"/>
                    </a:ext>
                  </a:extLst>
                </p:cNvPr>
                <p:cNvSpPr/>
                <p:nvPr/>
              </p:nvSpPr>
              <p:spPr>
                <a:xfrm>
                  <a:off x="11329701" y="5041296"/>
                  <a:ext cx="740092" cy="210311"/>
                </a:xfrm>
                <a:custGeom>
                  <a:avLst/>
                  <a:gdLst>
                    <a:gd name="connsiteX0" fmla="*/ 0 w 740092"/>
                    <a:gd name="connsiteY0" fmla="*/ 0 h 210311"/>
                    <a:gd name="connsiteX1" fmla="*/ 740092 w 740092"/>
                    <a:gd name="connsiteY1" fmla="*/ 0 h 210311"/>
                    <a:gd name="connsiteX2" fmla="*/ 740092 w 740092"/>
                    <a:gd name="connsiteY2" fmla="*/ 210312 h 210311"/>
                    <a:gd name="connsiteX3" fmla="*/ 0 w 740092"/>
                    <a:gd name="connsiteY3" fmla="*/ 210312 h 2103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40092" h="210311">
                      <a:moveTo>
                        <a:pt x="0" y="0"/>
                      </a:moveTo>
                      <a:lnTo>
                        <a:pt x="740092" y="0"/>
                      </a:lnTo>
                      <a:lnTo>
                        <a:pt x="740092" y="210312"/>
                      </a:lnTo>
                      <a:lnTo>
                        <a:pt x="0" y="210312"/>
                      </a:lnTo>
                      <a:close/>
                    </a:path>
                  </a:pathLst>
                </a:custGeom>
                <a:solidFill>
                  <a:schemeClr val="accent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914446"/>
                  <a:endParaRPr lang="en-GB">
                    <a:solidFill>
                      <a:srgbClr val="000000"/>
                    </a:solidFill>
                    <a:latin typeface="Novo Apply Sans"/>
                  </a:endParaRPr>
                </a:p>
              </p:txBody>
            </p:sp>
          </p:grpSp>
        </p:grpSp>
        <p:pic>
          <p:nvPicPr>
            <p:cNvPr id="82" name="Graphic 81">
              <a:extLst>
                <a:ext uri="{FF2B5EF4-FFF2-40B4-BE49-F238E27FC236}">
                  <a16:creationId xmlns:a16="http://schemas.microsoft.com/office/drawing/2014/main" id="{8DAED73B-98B3-469D-AD01-663D50120BB1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8802375" y="4487385"/>
              <a:ext cx="676275" cy="676275"/>
            </a:xfrm>
            <a:prstGeom prst="rect">
              <a:avLst/>
            </a:prstGeom>
          </p:spPr>
        </p:pic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AFFAC2AC-BA68-44B8-8C2A-37070A8087EB}"/>
                </a:ext>
              </a:extLst>
            </p:cNvPr>
            <p:cNvSpPr>
              <a:spLocks/>
            </p:cNvSpPr>
            <p:nvPr/>
          </p:nvSpPr>
          <p:spPr>
            <a:xfrm>
              <a:off x="8359547" y="5283150"/>
              <a:ext cx="1557395" cy="65652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914446">
                <a:lnSpc>
                  <a:spcPts val="1400"/>
                </a:lnSpc>
              </a:pPr>
              <a:r>
                <a:rPr lang="en-GB" sz="1067" b="1" dirty="0">
                  <a:solidFill>
                    <a:srgbClr val="001965"/>
                  </a:solidFill>
                  <a:latin typeface="Novo Apply Sans" panose="020F0502020204030204" pitchFamily="34" charset="0"/>
                </a:rPr>
                <a:t>Incubation/</a:t>
              </a:r>
            </a:p>
            <a:p>
              <a:pPr algn="ctr" defTabSz="914446">
                <a:lnSpc>
                  <a:spcPts val="1400"/>
                </a:lnSpc>
              </a:pPr>
              <a:r>
                <a:rPr lang="en-GB" sz="1067" b="1" dirty="0">
                  <a:solidFill>
                    <a:srgbClr val="001965"/>
                  </a:solidFill>
                  <a:latin typeface="Novo Apply Sans" panose="020F0502020204030204" pitchFamily="34" charset="0"/>
                </a:rPr>
                <a:t>Acceleration</a:t>
              </a:r>
            </a:p>
          </p:txBody>
        </p:sp>
      </p:grpSp>
      <p:grpSp>
        <p:nvGrpSpPr>
          <p:cNvPr id="134" name="Group 133">
            <a:extLst>
              <a:ext uri="{FF2B5EF4-FFF2-40B4-BE49-F238E27FC236}">
                <a16:creationId xmlns:a16="http://schemas.microsoft.com/office/drawing/2014/main" id="{B38B2185-7545-4CE9-9DDD-AEFB10A7481C}"/>
              </a:ext>
            </a:extLst>
          </p:cNvPr>
          <p:cNvGrpSpPr/>
          <p:nvPr/>
        </p:nvGrpSpPr>
        <p:grpSpPr>
          <a:xfrm>
            <a:off x="3443686" y="2784239"/>
            <a:ext cx="1435580" cy="1351299"/>
            <a:chOff x="4185850" y="4176359"/>
            <a:chExt cx="2153370" cy="2026948"/>
          </a:xfrm>
        </p:grpSpPr>
        <p:grpSp>
          <p:nvGrpSpPr>
            <p:cNvPr id="120" name="Group 119">
              <a:extLst>
                <a:ext uri="{FF2B5EF4-FFF2-40B4-BE49-F238E27FC236}">
                  <a16:creationId xmlns:a16="http://schemas.microsoft.com/office/drawing/2014/main" id="{05E56B9D-6AEE-449D-9BC4-861933496D7B}"/>
                </a:ext>
              </a:extLst>
            </p:cNvPr>
            <p:cNvGrpSpPr>
              <a:grpSpLocks/>
            </p:cNvGrpSpPr>
            <p:nvPr/>
          </p:nvGrpSpPr>
          <p:grpSpPr>
            <a:xfrm>
              <a:off x="4185850" y="4176359"/>
              <a:ext cx="2153370" cy="2026948"/>
              <a:chOff x="4451377" y="4343400"/>
              <a:chExt cx="1798450" cy="1692866"/>
            </a:xfrm>
          </p:grpSpPr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15257CBF-EB6F-4FA9-9B28-EB3EC00492EB}"/>
                  </a:ext>
                </a:extLst>
              </p:cNvPr>
              <p:cNvSpPr/>
              <p:nvPr/>
            </p:nvSpPr>
            <p:spPr>
              <a:xfrm>
                <a:off x="4581233" y="4491916"/>
                <a:ext cx="1299213" cy="1395807"/>
              </a:xfrm>
              <a:custGeom>
                <a:avLst/>
                <a:gdLst>
                  <a:gd name="connsiteX0" fmla="*/ 3985641 w 4542853"/>
                  <a:gd name="connsiteY0" fmla="*/ 4880610 h 4880609"/>
                  <a:gd name="connsiteX1" fmla="*/ 557308 w 4542853"/>
                  <a:gd name="connsiteY1" fmla="*/ 4880610 h 4880609"/>
                  <a:gd name="connsiteX2" fmla="*/ 0 w 4542853"/>
                  <a:gd name="connsiteY2" fmla="*/ 4323303 h 4880609"/>
                  <a:gd name="connsiteX3" fmla="*/ 0 w 4542853"/>
                  <a:gd name="connsiteY3" fmla="*/ 557308 h 4880609"/>
                  <a:gd name="connsiteX4" fmla="*/ 557308 w 4542853"/>
                  <a:gd name="connsiteY4" fmla="*/ 0 h 4880609"/>
                  <a:gd name="connsiteX5" fmla="*/ 3985546 w 4542853"/>
                  <a:gd name="connsiteY5" fmla="*/ 0 h 4880609"/>
                  <a:gd name="connsiteX6" fmla="*/ 4542854 w 4542853"/>
                  <a:gd name="connsiteY6" fmla="*/ 557308 h 4880609"/>
                  <a:gd name="connsiteX7" fmla="*/ 4542854 w 4542853"/>
                  <a:gd name="connsiteY7" fmla="*/ 4323303 h 4880609"/>
                  <a:gd name="connsiteX8" fmla="*/ 3985641 w 4542853"/>
                  <a:gd name="connsiteY8" fmla="*/ 4880610 h 48806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42853" h="4880609">
                    <a:moveTo>
                      <a:pt x="3985641" y="4880610"/>
                    </a:moveTo>
                    <a:lnTo>
                      <a:pt x="557308" y="4880610"/>
                    </a:lnTo>
                    <a:cubicBezTo>
                      <a:pt x="249555" y="4880610"/>
                      <a:pt x="0" y="4631150"/>
                      <a:pt x="0" y="4323303"/>
                    </a:cubicBezTo>
                    <a:lnTo>
                      <a:pt x="0" y="557308"/>
                    </a:lnTo>
                    <a:cubicBezTo>
                      <a:pt x="0" y="249555"/>
                      <a:pt x="249460" y="0"/>
                      <a:pt x="557308" y="0"/>
                    </a:cubicBezTo>
                    <a:lnTo>
                      <a:pt x="3985546" y="0"/>
                    </a:lnTo>
                    <a:cubicBezTo>
                      <a:pt x="4293299" y="0"/>
                      <a:pt x="4542854" y="249460"/>
                      <a:pt x="4542854" y="557308"/>
                    </a:cubicBezTo>
                    <a:lnTo>
                      <a:pt x="4542854" y="4323303"/>
                    </a:lnTo>
                    <a:cubicBezTo>
                      <a:pt x="4542854" y="4631055"/>
                      <a:pt x="4293394" y="4880610"/>
                      <a:pt x="3985641" y="4880610"/>
                    </a:cubicBezTo>
                    <a:close/>
                  </a:path>
                </a:pathLst>
              </a:custGeom>
              <a:solidFill>
                <a:srgbClr val="CCCCC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446"/>
                <a:endParaRPr lang="en-GB">
                  <a:solidFill>
                    <a:srgbClr val="000000"/>
                  </a:solidFill>
                  <a:latin typeface="Novo Apply Sans"/>
                </a:endParaRPr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05B9B10C-4162-43F0-9B5C-2CD9610C9DC0}"/>
                  </a:ext>
                </a:extLst>
              </p:cNvPr>
              <p:cNvSpPr/>
              <p:nvPr/>
            </p:nvSpPr>
            <p:spPr>
              <a:xfrm>
                <a:off x="4580661" y="4498835"/>
                <a:ext cx="1286355" cy="1381969"/>
              </a:xfrm>
              <a:custGeom>
                <a:avLst/>
                <a:gdLst>
                  <a:gd name="connsiteX0" fmla="*/ 3940588 w 4497895"/>
                  <a:gd name="connsiteY0" fmla="*/ 4832223 h 4832223"/>
                  <a:gd name="connsiteX1" fmla="*/ 557308 w 4497895"/>
                  <a:gd name="connsiteY1" fmla="*/ 4832223 h 4832223"/>
                  <a:gd name="connsiteX2" fmla="*/ 0 w 4497895"/>
                  <a:gd name="connsiteY2" fmla="*/ 4274915 h 4832223"/>
                  <a:gd name="connsiteX3" fmla="*/ 0 w 4497895"/>
                  <a:gd name="connsiteY3" fmla="*/ 557308 h 4832223"/>
                  <a:gd name="connsiteX4" fmla="*/ 557308 w 4497895"/>
                  <a:gd name="connsiteY4" fmla="*/ 0 h 4832223"/>
                  <a:gd name="connsiteX5" fmla="*/ 3940588 w 4497895"/>
                  <a:gd name="connsiteY5" fmla="*/ 0 h 4832223"/>
                  <a:gd name="connsiteX6" fmla="*/ 4497896 w 4497895"/>
                  <a:gd name="connsiteY6" fmla="*/ 557308 h 4832223"/>
                  <a:gd name="connsiteX7" fmla="*/ 4497896 w 4497895"/>
                  <a:gd name="connsiteY7" fmla="*/ 4275011 h 4832223"/>
                  <a:gd name="connsiteX8" fmla="*/ 3940588 w 4497895"/>
                  <a:gd name="connsiteY8" fmla="*/ 4832223 h 48322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497895" h="4832223">
                    <a:moveTo>
                      <a:pt x="3940588" y="4832223"/>
                    </a:moveTo>
                    <a:lnTo>
                      <a:pt x="557308" y="4832223"/>
                    </a:lnTo>
                    <a:cubicBezTo>
                      <a:pt x="249555" y="4832223"/>
                      <a:pt x="0" y="4582764"/>
                      <a:pt x="0" y="4274915"/>
                    </a:cubicBezTo>
                    <a:lnTo>
                      <a:pt x="0" y="557308"/>
                    </a:lnTo>
                    <a:cubicBezTo>
                      <a:pt x="0" y="249555"/>
                      <a:pt x="249460" y="0"/>
                      <a:pt x="557308" y="0"/>
                    </a:cubicBezTo>
                    <a:lnTo>
                      <a:pt x="3940588" y="0"/>
                    </a:lnTo>
                    <a:cubicBezTo>
                      <a:pt x="4248341" y="0"/>
                      <a:pt x="4497896" y="249460"/>
                      <a:pt x="4497896" y="557308"/>
                    </a:cubicBezTo>
                    <a:lnTo>
                      <a:pt x="4497896" y="4275011"/>
                    </a:lnTo>
                    <a:cubicBezTo>
                      <a:pt x="4497896" y="4582764"/>
                      <a:pt x="4248341" y="4832223"/>
                      <a:pt x="3940588" y="4832223"/>
                    </a:cubicBezTo>
                    <a:close/>
                  </a:path>
                </a:pathLst>
              </a:custGeom>
              <a:solidFill>
                <a:srgbClr val="F2F2F2"/>
              </a:solidFill>
              <a:ln w="9525" cap="flat">
                <a:noFill/>
                <a:prstDash val="solid"/>
                <a:miter/>
              </a:ln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defTabSz="914446"/>
                <a:endParaRPr lang="en-GB">
                  <a:solidFill>
                    <a:srgbClr val="000000"/>
                  </a:solidFill>
                  <a:latin typeface="Novo Apply Sans"/>
                </a:endParaRPr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20375589-4ECF-4C61-BF77-7F548ABF6B14}"/>
                  </a:ext>
                </a:extLst>
              </p:cNvPr>
              <p:cNvSpPr/>
              <p:nvPr/>
            </p:nvSpPr>
            <p:spPr>
              <a:xfrm>
                <a:off x="4451377" y="4360371"/>
                <a:ext cx="1544923" cy="1658897"/>
              </a:xfrm>
              <a:custGeom>
                <a:avLst/>
                <a:gdLst>
                  <a:gd name="connsiteX0" fmla="*/ 1147858 w 5402008"/>
                  <a:gd name="connsiteY0" fmla="*/ 19717 h 5800534"/>
                  <a:gd name="connsiteX1" fmla="*/ 1128141 w 5402008"/>
                  <a:gd name="connsiteY1" fmla="*/ 0 h 5800534"/>
                  <a:gd name="connsiteX2" fmla="*/ 950976 w 5402008"/>
                  <a:gd name="connsiteY2" fmla="*/ 0 h 5800534"/>
                  <a:gd name="connsiteX3" fmla="*/ 931259 w 5402008"/>
                  <a:gd name="connsiteY3" fmla="*/ 19717 h 5800534"/>
                  <a:gd name="connsiteX4" fmla="*/ 950976 w 5402008"/>
                  <a:gd name="connsiteY4" fmla="*/ 39434 h 5800534"/>
                  <a:gd name="connsiteX5" fmla="*/ 1128141 w 5402008"/>
                  <a:gd name="connsiteY5" fmla="*/ 39434 h 5800534"/>
                  <a:gd name="connsiteX6" fmla="*/ 1147858 w 5402008"/>
                  <a:gd name="connsiteY6" fmla="*/ 19717 h 5800534"/>
                  <a:gd name="connsiteX7" fmla="*/ 1261872 w 5402008"/>
                  <a:gd name="connsiteY7" fmla="*/ 5761101 h 5800534"/>
                  <a:gd name="connsiteX8" fmla="*/ 1084707 w 5402008"/>
                  <a:gd name="connsiteY8" fmla="*/ 5761101 h 5800534"/>
                  <a:gd name="connsiteX9" fmla="*/ 1064990 w 5402008"/>
                  <a:gd name="connsiteY9" fmla="*/ 5780818 h 5800534"/>
                  <a:gd name="connsiteX10" fmla="*/ 1084707 w 5402008"/>
                  <a:gd name="connsiteY10" fmla="*/ 5800535 h 5800534"/>
                  <a:gd name="connsiteX11" fmla="*/ 1261872 w 5402008"/>
                  <a:gd name="connsiteY11" fmla="*/ 5800535 h 5800534"/>
                  <a:gd name="connsiteX12" fmla="*/ 1281589 w 5402008"/>
                  <a:gd name="connsiteY12" fmla="*/ 5780818 h 5800534"/>
                  <a:gd name="connsiteX13" fmla="*/ 1261872 w 5402008"/>
                  <a:gd name="connsiteY13" fmla="*/ 5761101 h 5800534"/>
                  <a:gd name="connsiteX14" fmla="*/ 907637 w 5402008"/>
                  <a:gd name="connsiteY14" fmla="*/ 5761101 h 5800534"/>
                  <a:gd name="connsiteX15" fmla="*/ 730472 w 5402008"/>
                  <a:gd name="connsiteY15" fmla="*/ 5761101 h 5800534"/>
                  <a:gd name="connsiteX16" fmla="*/ 710756 w 5402008"/>
                  <a:gd name="connsiteY16" fmla="*/ 5780818 h 5800534"/>
                  <a:gd name="connsiteX17" fmla="*/ 730472 w 5402008"/>
                  <a:gd name="connsiteY17" fmla="*/ 5800535 h 5800534"/>
                  <a:gd name="connsiteX18" fmla="*/ 907637 w 5402008"/>
                  <a:gd name="connsiteY18" fmla="*/ 5800535 h 5800534"/>
                  <a:gd name="connsiteX19" fmla="*/ 927354 w 5402008"/>
                  <a:gd name="connsiteY19" fmla="*/ 5780818 h 5800534"/>
                  <a:gd name="connsiteX20" fmla="*/ 907637 w 5402008"/>
                  <a:gd name="connsiteY20" fmla="*/ 5761101 h 5800534"/>
                  <a:gd name="connsiteX21" fmla="*/ 441293 w 5402008"/>
                  <a:gd name="connsiteY21" fmla="*/ 40767 h 5800534"/>
                  <a:gd name="connsiteX22" fmla="*/ 416433 w 5402008"/>
                  <a:gd name="connsiteY22" fmla="*/ 27908 h 5800534"/>
                  <a:gd name="connsiteX23" fmla="*/ 253079 w 5402008"/>
                  <a:gd name="connsiteY23" fmla="*/ 109157 h 5800534"/>
                  <a:gd name="connsiteX24" fmla="*/ 248317 w 5402008"/>
                  <a:gd name="connsiteY24" fmla="*/ 136684 h 5800534"/>
                  <a:gd name="connsiteX25" fmla="*/ 264509 w 5402008"/>
                  <a:gd name="connsiteY25" fmla="*/ 145066 h 5800534"/>
                  <a:gd name="connsiteX26" fmla="*/ 275939 w 5402008"/>
                  <a:gd name="connsiteY26" fmla="*/ 141446 h 5800534"/>
                  <a:gd name="connsiteX27" fmla="*/ 428435 w 5402008"/>
                  <a:gd name="connsiteY27" fmla="*/ 65532 h 5800534"/>
                  <a:gd name="connsiteX28" fmla="*/ 441293 w 5402008"/>
                  <a:gd name="connsiteY28" fmla="*/ 40767 h 5800534"/>
                  <a:gd name="connsiteX29" fmla="*/ 2678716 w 5402008"/>
                  <a:gd name="connsiteY29" fmla="*/ 5761101 h 5800534"/>
                  <a:gd name="connsiteX30" fmla="*/ 2501551 w 5402008"/>
                  <a:gd name="connsiteY30" fmla="*/ 5761101 h 5800534"/>
                  <a:gd name="connsiteX31" fmla="*/ 2481834 w 5402008"/>
                  <a:gd name="connsiteY31" fmla="*/ 5780818 h 5800534"/>
                  <a:gd name="connsiteX32" fmla="*/ 2501551 w 5402008"/>
                  <a:gd name="connsiteY32" fmla="*/ 5800535 h 5800534"/>
                  <a:gd name="connsiteX33" fmla="*/ 2678716 w 5402008"/>
                  <a:gd name="connsiteY33" fmla="*/ 5800535 h 5800534"/>
                  <a:gd name="connsiteX34" fmla="*/ 2698433 w 5402008"/>
                  <a:gd name="connsiteY34" fmla="*/ 5780818 h 5800534"/>
                  <a:gd name="connsiteX35" fmla="*/ 2678716 w 5402008"/>
                  <a:gd name="connsiteY35" fmla="*/ 5761101 h 5800534"/>
                  <a:gd name="connsiteX36" fmla="*/ 793623 w 5402008"/>
                  <a:gd name="connsiteY36" fmla="*/ 19717 h 5800534"/>
                  <a:gd name="connsiteX37" fmla="*/ 773906 w 5402008"/>
                  <a:gd name="connsiteY37" fmla="*/ 0 h 5800534"/>
                  <a:gd name="connsiteX38" fmla="*/ 596741 w 5402008"/>
                  <a:gd name="connsiteY38" fmla="*/ 0 h 5800534"/>
                  <a:gd name="connsiteX39" fmla="*/ 577025 w 5402008"/>
                  <a:gd name="connsiteY39" fmla="*/ 19717 h 5800534"/>
                  <a:gd name="connsiteX40" fmla="*/ 596741 w 5402008"/>
                  <a:gd name="connsiteY40" fmla="*/ 39434 h 5800534"/>
                  <a:gd name="connsiteX41" fmla="*/ 773906 w 5402008"/>
                  <a:gd name="connsiteY41" fmla="*/ 39434 h 5800534"/>
                  <a:gd name="connsiteX42" fmla="*/ 793623 w 5402008"/>
                  <a:gd name="connsiteY42" fmla="*/ 19717 h 5800534"/>
                  <a:gd name="connsiteX43" fmla="*/ 1502093 w 5402008"/>
                  <a:gd name="connsiteY43" fmla="*/ 19717 h 5800534"/>
                  <a:gd name="connsiteX44" fmla="*/ 1482376 w 5402008"/>
                  <a:gd name="connsiteY44" fmla="*/ 0 h 5800534"/>
                  <a:gd name="connsiteX45" fmla="*/ 1305306 w 5402008"/>
                  <a:gd name="connsiteY45" fmla="*/ 0 h 5800534"/>
                  <a:gd name="connsiteX46" fmla="*/ 1285589 w 5402008"/>
                  <a:gd name="connsiteY46" fmla="*/ 19717 h 5800534"/>
                  <a:gd name="connsiteX47" fmla="*/ 1305306 w 5402008"/>
                  <a:gd name="connsiteY47" fmla="*/ 39434 h 5800534"/>
                  <a:gd name="connsiteX48" fmla="*/ 1482376 w 5402008"/>
                  <a:gd name="connsiteY48" fmla="*/ 39434 h 5800534"/>
                  <a:gd name="connsiteX49" fmla="*/ 1502093 w 5402008"/>
                  <a:gd name="connsiteY49" fmla="*/ 19717 h 5800534"/>
                  <a:gd name="connsiteX50" fmla="*/ 2324481 w 5402008"/>
                  <a:gd name="connsiteY50" fmla="*/ 5761101 h 5800534"/>
                  <a:gd name="connsiteX51" fmla="*/ 2147316 w 5402008"/>
                  <a:gd name="connsiteY51" fmla="*/ 5761101 h 5800534"/>
                  <a:gd name="connsiteX52" fmla="*/ 2127599 w 5402008"/>
                  <a:gd name="connsiteY52" fmla="*/ 5780818 h 5800534"/>
                  <a:gd name="connsiteX53" fmla="*/ 2147316 w 5402008"/>
                  <a:gd name="connsiteY53" fmla="*/ 5800535 h 5800534"/>
                  <a:gd name="connsiteX54" fmla="*/ 2324481 w 5402008"/>
                  <a:gd name="connsiteY54" fmla="*/ 5800535 h 5800534"/>
                  <a:gd name="connsiteX55" fmla="*/ 2344198 w 5402008"/>
                  <a:gd name="connsiteY55" fmla="*/ 5780818 h 5800534"/>
                  <a:gd name="connsiteX56" fmla="*/ 2324481 w 5402008"/>
                  <a:gd name="connsiteY56" fmla="*/ 5761101 h 5800534"/>
                  <a:gd name="connsiteX57" fmla="*/ 2564797 w 5402008"/>
                  <a:gd name="connsiteY57" fmla="*/ 19717 h 5800534"/>
                  <a:gd name="connsiteX58" fmla="*/ 2545080 w 5402008"/>
                  <a:gd name="connsiteY58" fmla="*/ 0 h 5800534"/>
                  <a:gd name="connsiteX59" fmla="*/ 2367915 w 5402008"/>
                  <a:gd name="connsiteY59" fmla="*/ 0 h 5800534"/>
                  <a:gd name="connsiteX60" fmla="*/ 2348198 w 5402008"/>
                  <a:gd name="connsiteY60" fmla="*/ 19717 h 5800534"/>
                  <a:gd name="connsiteX61" fmla="*/ 2367915 w 5402008"/>
                  <a:gd name="connsiteY61" fmla="*/ 39434 h 5800534"/>
                  <a:gd name="connsiteX62" fmla="*/ 2545080 w 5402008"/>
                  <a:gd name="connsiteY62" fmla="*/ 39434 h 5800534"/>
                  <a:gd name="connsiteX63" fmla="*/ 2564797 w 5402008"/>
                  <a:gd name="connsiteY63" fmla="*/ 19717 h 5800534"/>
                  <a:gd name="connsiteX64" fmla="*/ 129254 w 5402008"/>
                  <a:gd name="connsiteY64" fmla="*/ 5506403 h 5800534"/>
                  <a:gd name="connsiteX65" fmla="*/ 101918 w 5402008"/>
                  <a:gd name="connsiteY65" fmla="*/ 5500592 h 5800534"/>
                  <a:gd name="connsiteX66" fmla="*/ 96107 w 5402008"/>
                  <a:gd name="connsiteY66" fmla="*/ 5527930 h 5800534"/>
                  <a:gd name="connsiteX67" fmla="*/ 217551 w 5402008"/>
                  <a:gd name="connsiteY67" fmla="*/ 5664042 h 5800534"/>
                  <a:gd name="connsiteX68" fmla="*/ 230124 w 5402008"/>
                  <a:gd name="connsiteY68" fmla="*/ 5668613 h 5800534"/>
                  <a:gd name="connsiteX69" fmla="*/ 245364 w 5402008"/>
                  <a:gd name="connsiteY69" fmla="*/ 5661470 h 5800534"/>
                  <a:gd name="connsiteX70" fmla="*/ 242697 w 5402008"/>
                  <a:gd name="connsiteY70" fmla="*/ 5633657 h 5800534"/>
                  <a:gd name="connsiteX71" fmla="*/ 129254 w 5402008"/>
                  <a:gd name="connsiteY71" fmla="*/ 5506403 h 5800534"/>
                  <a:gd name="connsiteX72" fmla="*/ 2210562 w 5402008"/>
                  <a:gd name="connsiteY72" fmla="*/ 19717 h 5800534"/>
                  <a:gd name="connsiteX73" fmla="*/ 2190845 w 5402008"/>
                  <a:gd name="connsiteY73" fmla="*/ 0 h 5800534"/>
                  <a:gd name="connsiteX74" fmla="*/ 2013776 w 5402008"/>
                  <a:gd name="connsiteY74" fmla="*/ 0 h 5800534"/>
                  <a:gd name="connsiteX75" fmla="*/ 1994059 w 5402008"/>
                  <a:gd name="connsiteY75" fmla="*/ 19717 h 5800534"/>
                  <a:gd name="connsiteX76" fmla="*/ 2013776 w 5402008"/>
                  <a:gd name="connsiteY76" fmla="*/ 39434 h 5800534"/>
                  <a:gd name="connsiteX77" fmla="*/ 2190845 w 5402008"/>
                  <a:gd name="connsiteY77" fmla="*/ 39434 h 5800534"/>
                  <a:gd name="connsiteX78" fmla="*/ 2210562 w 5402008"/>
                  <a:gd name="connsiteY78" fmla="*/ 19717 h 5800534"/>
                  <a:gd name="connsiteX79" fmla="*/ 1970246 w 5402008"/>
                  <a:gd name="connsiteY79" fmla="*/ 5761101 h 5800534"/>
                  <a:gd name="connsiteX80" fmla="*/ 1793177 w 5402008"/>
                  <a:gd name="connsiteY80" fmla="*/ 5761101 h 5800534"/>
                  <a:gd name="connsiteX81" fmla="*/ 1773460 w 5402008"/>
                  <a:gd name="connsiteY81" fmla="*/ 5780818 h 5800534"/>
                  <a:gd name="connsiteX82" fmla="*/ 1793177 w 5402008"/>
                  <a:gd name="connsiteY82" fmla="*/ 5800535 h 5800534"/>
                  <a:gd name="connsiteX83" fmla="*/ 1970246 w 5402008"/>
                  <a:gd name="connsiteY83" fmla="*/ 5800535 h 5800534"/>
                  <a:gd name="connsiteX84" fmla="*/ 1989963 w 5402008"/>
                  <a:gd name="connsiteY84" fmla="*/ 5780818 h 5800534"/>
                  <a:gd name="connsiteX85" fmla="*/ 1970246 w 5402008"/>
                  <a:gd name="connsiteY85" fmla="*/ 5761101 h 5800534"/>
                  <a:gd name="connsiteX86" fmla="*/ 1616012 w 5402008"/>
                  <a:gd name="connsiteY86" fmla="*/ 5761101 h 5800534"/>
                  <a:gd name="connsiteX87" fmla="*/ 1438942 w 5402008"/>
                  <a:gd name="connsiteY87" fmla="*/ 5761101 h 5800534"/>
                  <a:gd name="connsiteX88" fmla="*/ 1419225 w 5402008"/>
                  <a:gd name="connsiteY88" fmla="*/ 5780818 h 5800534"/>
                  <a:gd name="connsiteX89" fmla="*/ 1438942 w 5402008"/>
                  <a:gd name="connsiteY89" fmla="*/ 5800535 h 5800534"/>
                  <a:gd name="connsiteX90" fmla="*/ 1616012 w 5402008"/>
                  <a:gd name="connsiteY90" fmla="*/ 5800535 h 5800534"/>
                  <a:gd name="connsiteX91" fmla="*/ 1635728 w 5402008"/>
                  <a:gd name="connsiteY91" fmla="*/ 5780818 h 5800534"/>
                  <a:gd name="connsiteX92" fmla="*/ 1616012 w 5402008"/>
                  <a:gd name="connsiteY92" fmla="*/ 5761101 h 5800534"/>
                  <a:gd name="connsiteX93" fmla="*/ 1856327 w 5402008"/>
                  <a:gd name="connsiteY93" fmla="*/ 19717 h 5800534"/>
                  <a:gd name="connsiteX94" fmla="*/ 1836611 w 5402008"/>
                  <a:gd name="connsiteY94" fmla="*/ 0 h 5800534"/>
                  <a:gd name="connsiteX95" fmla="*/ 1659541 w 5402008"/>
                  <a:gd name="connsiteY95" fmla="*/ 0 h 5800534"/>
                  <a:gd name="connsiteX96" fmla="*/ 1639824 w 5402008"/>
                  <a:gd name="connsiteY96" fmla="*/ 19717 h 5800534"/>
                  <a:gd name="connsiteX97" fmla="*/ 1659541 w 5402008"/>
                  <a:gd name="connsiteY97" fmla="*/ 39434 h 5800534"/>
                  <a:gd name="connsiteX98" fmla="*/ 1836611 w 5402008"/>
                  <a:gd name="connsiteY98" fmla="*/ 39434 h 5800534"/>
                  <a:gd name="connsiteX99" fmla="*/ 1856327 w 5402008"/>
                  <a:gd name="connsiteY99" fmla="*/ 19717 h 5800534"/>
                  <a:gd name="connsiteX100" fmla="*/ 554927 w 5402008"/>
                  <a:gd name="connsiteY100" fmla="*/ 5759482 h 5800534"/>
                  <a:gd name="connsiteX101" fmla="*/ 389096 w 5402008"/>
                  <a:gd name="connsiteY101" fmla="*/ 5720715 h 5800534"/>
                  <a:gd name="connsiteX102" fmla="*/ 363379 w 5402008"/>
                  <a:gd name="connsiteY102" fmla="*/ 5731669 h 5800534"/>
                  <a:gd name="connsiteX103" fmla="*/ 374333 w 5402008"/>
                  <a:gd name="connsiteY103" fmla="*/ 5757386 h 5800534"/>
                  <a:gd name="connsiteX104" fmla="*/ 551974 w 5402008"/>
                  <a:gd name="connsiteY104" fmla="*/ 5798915 h 5800534"/>
                  <a:gd name="connsiteX105" fmla="*/ 553498 w 5402008"/>
                  <a:gd name="connsiteY105" fmla="*/ 5799011 h 5800534"/>
                  <a:gd name="connsiteX106" fmla="*/ 573215 w 5402008"/>
                  <a:gd name="connsiteY106" fmla="*/ 5780723 h 5800534"/>
                  <a:gd name="connsiteX107" fmla="*/ 554927 w 5402008"/>
                  <a:gd name="connsiteY107" fmla="*/ 5759482 h 5800534"/>
                  <a:gd name="connsiteX108" fmla="*/ 19717 w 5402008"/>
                  <a:gd name="connsiteY108" fmla="*/ 2189893 h 5800534"/>
                  <a:gd name="connsiteX109" fmla="*/ 39434 w 5402008"/>
                  <a:gd name="connsiteY109" fmla="*/ 2170176 h 5800534"/>
                  <a:gd name="connsiteX110" fmla="*/ 39434 w 5402008"/>
                  <a:gd name="connsiteY110" fmla="*/ 1993011 h 5800534"/>
                  <a:gd name="connsiteX111" fmla="*/ 19717 w 5402008"/>
                  <a:gd name="connsiteY111" fmla="*/ 1973294 h 5800534"/>
                  <a:gd name="connsiteX112" fmla="*/ 0 w 5402008"/>
                  <a:gd name="connsiteY112" fmla="*/ 1993011 h 5800534"/>
                  <a:gd name="connsiteX113" fmla="*/ 0 w 5402008"/>
                  <a:gd name="connsiteY113" fmla="*/ 2170176 h 5800534"/>
                  <a:gd name="connsiteX114" fmla="*/ 19717 w 5402008"/>
                  <a:gd name="connsiteY114" fmla="*/ 2189893 h 5800534"/>
                  <a:gd name="connsiteX115" fmla="*/ 19717 w 5402008"/>
                  <a:gd name="connsiteY115" fmla="*/ 2544127 h 5800534"/>
                  <a:gd name="connsiteX116" fmla="*/ 39434 w 5402008"/>
                  <a:gd name="connsiteY116" fmla="*/ 2524411 h 5800534"/>
                  <a:gd name="connsiteX117" fmla="*/ 39434 w 5402008"/>
                  <a:gd name="connsiteY117" fmla="*/ 2347341 h 5800534"/>
                  <a:gd name="connsiteX118" fmla="*/ 19717 w 5402008"/>
                  <a:gd name="connsiteY118" fmla="*/ 2327624 h 5800534"/>
                  <a:gd name="connsiteX119" fmla="*/ 0 w 5402008"/>
                  <a:gd name="connsiteY119" fmla="*/ 2347341 h 5800534"/>
                  <a:gd name="connsiteX120" fmla="*/ 0 w 5402008"/>
                  <a:gd name="connsiteY120" fmla="*/ 2524411 h 5800534"/>
                  <a:gd name="connsiteX121" fmla="*/ 19717 w 5402008"/>
                  <a:gd name="connsiteY121" fmla="*/ 2544127 h 5800534"/>
                  <a:gd name="connsiteX122" fmla="*/ 19717 w 5402008"/>
                  <a:gd name="connsiteY122" fmla="*/ 1835658 h 5800534"/>
                  <a:gd name="connsiteX123" fmla="*/ 39434 w 5402008"/>
                  <a:gd name="connsiteY123" fmla="*/ 1815941 h 5800534"/>
                  <a:gd name="connsiteX124" fmla="*/ 39434 w 5402008"/>
                  <a:gd name="connsiteY124" fmla="*/ 1638776 h 5800534"/>
                  <a:gd name="connsiteX125" fmla="*/ 19717 w 5402008"/>
                  <a:gd name="connsiteY125" fmla="*/ 1619060 h 5800534"/>
                  <a:gd name="connsiteX126" fmla="*/ 0 w 5402008"/>
                  <a:gd name="connsiteY126" fmla="*/ 1638776 h 5800534"/>
                  <a:gd name="connsiteX127" fmla="*/ 0 w 5402008"/>
                  <a:gd name="connsiteY127" fmla="*/ 1815941 h 5800534"/>
                  <a:gd name="connsiteX128" fmla="*/ 19717 w 5402008"/>
                  <a:gd name="connsiteY128" fmla="*/ 1835658 h 5800534"/>
                  <a:gd name="connsiteX129" fmla="*/ 19717 w 5402008"/>
                  <a:gd name="connsiteY129" fmla="*/ 772954 h 5800534"/>
                  <a:gd name="connsiteX130" fmla="*/ 39434 w 5402008"/>
                  <a:gd name="connsiteY130" fmla="*/ 753237 h 5800534"/>
                  <a:gd name="connsiteX131" fmla="*/ 39434 w 5402008"/>
                  <a:gd name="connsiteY131" fmla="*/ 597789 h 5800534"/>
                  <a:gd name="connsiteX132" fmla="*/ 39815 w 5402008"/>
                  <a:gd name="connsiteY132" fmla="*/ 576739 h 5800534"/>
                  <a:gd name="connsiteX133" fmla="*/ 20765 w 5402008"/>
                  <a:gd name="connsiteY133" fmla="*/ 556260 h 5800534"/>
                  <a:gd name="connsiteX134" fmla="*/ 286 w 5402008"/>
                  <a:gd name="connsiteY134" fmla="*/ 575310 h 5800534"/>
                  <a:gd name="connsiteX135" fmla="*/ 0 w 5402008"/>
                  <a:gd name="connsiteY135" fmla="*/ 597789 h 5800534"/>
                  <a:gd name="connsiteX136" fmla="*/ 0 w 5402008"/>
                  <a:gd name="connsiteY136" fmla="*/ 753142 h 5800534"/>
                  <a:gd name="connsiteX137" fmla="*/ 19717 w 5402008"/>
                  <a:gd name="connsiteY137" fmla="*/ 772954 h 5800534"/>
                  <a:gd name="connsiteX138" fmla="*/ 19717 w 5402008"/>
                  <a:gd name="connsiteY138" fmla="*/ 1481423 h 5800534"/>
                  <a:gd name="connsiteX139" fmla="*/ 39434 w 5402008"/>
                  <a:gd name="connsiteY139" fmla="*/ 1461707 h 5800534"/>
                  <a:gd name="connsiteX140" fmla="*/ 39434 w 5402008"/>
                  <a:gd name="connsiteY140" fmla="*/ 1284637 h 5800534"/>
                  <a:gd name="connsiteX141" fmla="*/ 19717 w 5402008"/>
                  <a:gd name="connsiteY141" fmla="*/ 1264920 h 5800534"/>
                  <a:gd name="connsiteX142" fmla="*/ 0 w 5402008"/>
                  <a:gd name="connsiteY142" fmla="*/ 1284637 h 5800534"/>
                  <a:gd name="connsiteX143" fmla="*/ 0 w 5402008"/>
                  <a:gd name="connsiteY143" fmla="*/ 1461707 h 5800534"/>
                  <a:gd name="connsiteX144" fmla="*/ 19717 w 5402008"/>
                  <a:gd name="connsiteY144" fmla="*/ 1481423 h 5800534"/>
                  <a:gd name="connsiteX145" fmla="*/ 19717 w 5402008"/>
                  <a:gd name="connsiteY145" fmla="*/ 2898362 h 5800534"/>
                  <a:gd name="connsiteX146" fmla="*/ 39434 w 5402008"/>
                  <a:gd name="connsiteY146" fmla="*/ 2878646 h 5800534"/>
                  <a:gd name="connsiteX147" fmla="*/ 39434 w 5402008"/>
                  <a:gd name="connsiteY147" fmla="*/ 2701481 h 5800534"/>
                  <a:gd name="connsiteX148" fmla="*/ 19717 w 5402008"/>
                  <a:gd name="connsiteY148" fmla="*/ 2681764 h 5800534"/>
                  <a:gd name="connsiteX149" fmla="*/ 0 w 5402008"/>
                  <a:gd name="connsiteY149" fmla="*/ 2701481 h 5800534"/>
                  <a:gd name="connsiteX150" fmla="*/ 0 w 5402008"/>
                  <a:gd name="connsiteY150" fmla="*/ 2878646 h 5800534"/>
                  <a:gd name="connsiteX151" fmla="*/ 19717 w 5402008"/>
                  <a:gd name="connsiteY151" fmla="*/ 2898362 h 5800534"/>
                  <a:gd name="connsiteX152" fmla="*/ 19717 w 5402008"/>
                  <a:gd name="connsiteY152" fmla="*/ 1127189 h 5800534"/>
                  <a:gd name="connsiteX153" fmla="*/ 39434 w 5402008"/>
                  <a:gd name="connsiteY153" fmla="*/ 1107472 h 5800534"/>
                  <a:gd name="connsiteX154" fmla="*/ 39434 w 5402008"/>
                  <a:gd name="connsiteY154" fmla="*/ 930307 h 5800534"/>
                  <a:gd name="connsiteX155" fmla="*/ 19717 w 5402008"/>
                  <a:gd name="connsiteY155" fmla="*/ 910590 h 5800534"/>
                  <a:gd name="connsiteX156" fmla="*/ 0 w 5402008"/>
                  <a:gd name="connsiteY156" fmla="*/ 930307 h 5800534"/>
                  <a:gd name="connsiteX157" fmla="*/ 0 w 5402008"/>
                  <a:gd name="connsiteY157" fmla="*/ 1107472 h 5800534"/>
                  <a:gd name="connsiteX158" fmla="*/ 19717 w 5402008"/>
                  <a:gd name="connsiteY158" fmla="*/ 1127189 h 5800534"/>
                  <a:gd name="connsiteX159" fmla="*/ 19717 w 5402008"/>
                  <a:gd name="connsiteY159" fmla="*/ 3961067 h 5800534"/>
                  <a:gd name="connsiteX160" fmla="*/ 39434 w 5402008"/>
                  <a:gd name="connsiteY160" fmla="*/ 3941350 h 5800534"/>
                  <a:gd name="connsiteX161" fmla="*/ 39434 w 5402008"/>
                  <a:gd name="connsiteY161" fmla="*/ 3764185 h 5800534"/>
                  <a:gd name="connsiteX162" fmla="*/ 19717 w 5402008"/>
                  <a:gd name="connsiteY162" fmla="*/ 3744468 h 5800534"/>
                  <a:gd name="connsiteX163" fmla="*/ 0 w 5402008"/>
                  <a:gd name="connsiteY163" fmla="*/ 3764185 h 5800534"/>
                  <a:gd name="connsiteX164" fmla="*/ 0 w 5402008"/>
                  <a:gd name="connsiteY164" fmla="*/ 3941350 h 5800534"/>
                  <a:gd name="connsiteX165" fmla="*/ 19717 w 5402008"/>
                  <a:gd name="connsiteY165" fmla="*/ 3961067 h 5800534"/>
                  <a:gd name="connsiteX166" fmla="*/ 19717 w 5402008"/>
                  <a:gd name="connsiteY166" fmla="*/ 5023771 h 5800534"/>
                  <a:gd name="connsiteX167" fmla="*/ 39434 w 5402008"/>
                  <a:gd name="connsiteY167" fmla="*/ 5004055 h 5800534"/>
                  <a:gd name="connsiteX168" fmla="*/ 39434 w 5402008"/>
                  <a:gd name="connsiteY168" fmla="*/ 4826889 h 5800534"/>
                  <a:gd name="connsiteX169" fmla="*/ 19717 w 5402008"/>
                  <a:gd name="connsiteY169" fmla="*/ 4807173 h 5800534"/>
                  <a:gd name="connsiteX170" fmla="*/ 0 w 5402008"/>
                  <a:gd name="connsiteY170" fmla="*/ 4826889 h 5800534"/>
                  <a:gd name="connsiteX171" fmla="*/ 0 w 5402008"/>
                  <a:gd name="connsiteY171" fmla="*/ 5004055 h 5800534"/>
                  <a:gd name="connsiteX172" fmla="*/ 19717 w 5402008"/>
                  <a:gd name="connsiteY172" fmla="*/ 5023771 h 5800534"/>
                  <a:gd name="connsiteX173" fmla="*/ 19717 w 5402008"/>
                  <a:gd name="connsiteY173" fmla="*/ 4669536 h 5800534"/>
                  <a:gd name="connsiteX174" fmla="*/ 39434 w 5402008"/>
                  <a:gd name="connsiteY174" fmla="*/ 4649819 h 5800534"/>
                  <a:gd name="connsiteX175" fmla="*/ 39434 w 5402008"/>
                  <a:gd name="connsiteY175" fmla="*/ 4472654 h 5800534"/>
                  <a:gd name="connsiteX176" fmla="*/ 19717 w 5402008"/>
                  <a:gd name="connsiteY176" fmla="*/ 4452938 h 5800534"/>
                  <a:gd name="connsiteX177" fmla="*/ 0 w 5402008"/>
                  <a:gd name="connsiteY177" fmla="*/ 4472654 h 5800534"/>
                  <a:gd name="connsiteX178" fmla="*/ 0 w 5402008"/>
                  <a:gd name="connsiteY178" fmla="*/ 4649819 h 5800534"/>
                  <a:gd name="connsiteX179" fmla="*/ 19717 w 5402008"/>
                  <a:gd name="connsiteY179" fmla="*/ 4669536 h 5800534"/>
                  <a:gd name="connsiteX180" fmla="*/ 39529 w 5402008"/>
                  <a:gd name="connsiteY180" fmla="*/ 5202746 h 5800534"/>
                  <a:gd name="connsiteX181" fmla="*/ 39529 w 5402008"/>
                  <a:gd name="connsiteY181" fmla="*/ 5181124 h 5800534"/>
                  <a:gd name="connsiteX182" fmla="*/ 19812 w 5402008"/>
                  <a:gd name="connsiteY182" fmla="*/ 5161407 h 5800534"/>
                  <a:gd name="connsiteX183" fmla="*/ 95 w 5402008"/>
                  <a:gd name="connsiteY183" fmla="*/ 5181124 h 5800534"/>
                  <a:gd name="connsiteX184" fmla="*/ 95 w 5402008"/>
                  <a:gd name="connsiteY184" fmla="*/ 5202746 h 5800534"/>
                  <a:gd name="connsiteX185" fmla="*/ 21431 w 5402008"/>
                  <a:gd name="connsiteY185" fmla="*/ 5361527 h 5800534"/>
                  <a:gd name="connsiteX186" fmla="*/ 40481 w 5402008"/>
                  <a:gd name="connsiteY186" fmla="*/ 5376101 h 5800534"/>
                  <a:gd name="connsiteX187" fmla="*/ 45720 w 5402008"/>
                  <a:gd name="connsiteY187" fmla="*/ 5375339 h 5800534"/>
                  <a:gd name="connsiteX188" fmla="*/ 59531 w 5402008"/>
                  <a:gd name="connsiteY188" fmla="*/ 5351050 h 5800534"/>
                  <a:gd name="connsiteX189" fmla="*/ 39529 w 5402008"/>
                  <a:gd name="connsiteY189" fmla="*/ 5202746 h 5800534"/>
                  <a:gd name="connsiteX190" fmla="*/ 149638 w 5402008"/>
                  <a:gd name="connsiteY190" fmla="*/ 232124 h 5800534"/>
                  <a:gd name="connsiteX191" fmla="*/ 121920 w 5402008"/>
                  <a:gd name="connsiteY191" fmla="*/ 235934 h 5800534"/>
                  <a:gd name="connsiteX192" fmla="*/ 34862 w 5402008"/>
                  <a:gd name="connsiteY192" fmla="*/ 396240 h 5800534"/>
                  <a:gd name="connsiteX193" fmla="*/ 46768 w 5402008"/>
                  <a:gd name="connsiteY193" fmla="*/ 421481 h 5800534"/>
                  <a:gd name="connsiteX194" fmla="*/ 53435 w 5402008"/>
                  <a:gd name="connsiteY194" fmla="*/ 422624 h 5800534"/>
                  <a:gd name="connsiteX195" fmla="*/ 72009 w 5402008"/>
                  <a:gd name="connsiteY195" fmla="*/ 409480 h 5800534"/>
                  <a:gd name="connsiteX196" fmla="*/ 153353 w 5402008"/>
                  <a:gd name="connsiteY196" fmla="*/ 259842 h 5800534"/>
                  <a:gd name="connsiteX197" fmla="*/ 149638 w 5402008"/>
                  <a:gd name="connsiteY197" fmla="*/ 232124 h 5800534"/>
                  <a:gd name="connsiteX198" fmla="*/ 19717 w 5402008"/>
                  <a:gd name="connsiteY198" fmla="*/ 4315301 h 5800534"/>
                  <a:gd name="connsiteX199" fmla="*/ 39434 w 5402008"/>
                  <a:gd name="connsiteY199" fmla="*/ 4295585 h 5800534"/>
                  <a:gd name="connsiteX200" fmla="*/ 39434 w 5402008"/>
                  <a:gd name="connsiteY200" fmla="*/ 4118515 h 5800534"/>
                  <a:gd name="connsiteX201" fmla="*/ 19717 w 5402008"/>
                  <a:gd name="connsiteY201" fmla="*/ 4098798 h 5800534"/>
                  <a:gd name="connsiteX202" fmla="*/ 0 w 5402008"/>
                  <a:gd name="connsiteY202" fmla="*/ 4118515 h 5800534"/>
                  <a:gd name="connsiteX203" fmla="*/ 0 w 5402008"/>
                  <a:gd name="connsiteY203" fmla="*/ 4295585 h 5800534"/>
                  <a:gd name="connsiteX204" fmla="*/ 19717 w 5402008"/>
                  <a:gd name="connsiteY204" fmla="*/ 4315301 h 5800534"/>
                  <a:gd name="connsiteX205" fmla="*/ 19717 w 5402008"/>
                  <a:gd name="connsiteY205" fmla="*/ 3606832 h 5800534"/>
                  <a:gd name="connsiteX206" fmla="*/ 39434 w 5402008"/>
                  <a:gd name="connsiteY206" fmla="*/ 3587020 h 5800534"/>
                  <a:gd name="connsiteX207" fmla="*/ 39434 w 5402008"/>
                  <a:gd name="connsiteY207" fmla="*/ 3409855 h 5800534"/>
                  <a:gd name="connsiteX208" fmla="*/ 19717 w 5402008"/>
                  <a:gd name="connsiteY208" fmla="*/ 3390138 h 5800534"/>
                  <a:gd name="connsiteX209" fmla="*/ 0 w 5402008"/>
                  <a:gd name="connsiteY209" fmla="*/ 3409855 h 5800534"/>
                  <a:gd name="connsiteX210" fmla="*/ 0 w 5402008"/>
                  <a:gd name="connsiteY210" fmla="*/ 3587020 h 5800534"/>
                  <a:gd name="connsiteX211" fmla="*/ 19717 w 5402008"/>
                  <a:gd name="connsiteY211" fmla="*/ 3606832 h 5800534"/>
                  <a:gd name="connsiteX212" fmla="*/ 19717 w 5402008"/>
                  <a:gd name="connsiteY212" fmla="*/ 3252597 h 5800534"/>
                  <a:gd name="connsiteX213" fmla="*/ 39434 w 5402008"/>
                  <a:gd name="connsiteY213" fmla="*/ 3232881 h 5800534"/>
                  <a:gd name="connsiteX214" fmla="*/ 39434 w 5402008"/>
                  <a:gd name="connsiteY214" fmla="*/ 3055715 h 5800534"/>
                  <a:gd name="connsiteX215" fmla="*/ 19717 w 5402008"/>
                  <a:gd name="connsiteY215" fmla="*/ 3035999 h 5800534"/>
                  <a:gd name="connsiteX216" fmla="*/ 0 w 5402008"/>
                  <a:gd name="connsiteY216" fmla="*/ 3055715 h 5800534"/>
                  <a:gd name="connsiteX217" fmla="*/ 0 w 5402008"/>
                  <a:gd name="connsiteY217" fmla="*/ 3232881 h 5800534"/>
                  <a:gd name="connsiteX218" fmla="*/ 19717 w 5402008"/>
                  <a:gd name="connsiteY218" fmla="*/ 3252597 h 5800534"/>
                  <a:gd name="connsiteX219" fmla="*/ 5382292 w 5402008"/>
                  <a:gd name="connsiteY219" fmla="*/ 3609594 h 5800534"/>
                  <a:gd name="connsiteX220" fmla="*/ 5362575 w 5402008"/>
                  <a:gd name="connsiteY220" fmla="*/ 3629311 h 5800534"/>
                  <a:gd name="connsiteX221" fmla="*/ 5362575 w 5402008"/>
                  <a:gd name="connsiteY221" fmla="*/ 3806381 h 5800534"/>
                  <a:gd name="connsiteX222" fmla="*/ 5382292 w 5402008"/>
                  <a:gd name="connsiteY222" fmla="*/ 3826098 h 5800534"/>
                  <a:gd name="connsiteX223" fmla="*/ 5402009 w 5402008"/>
                  <a:gd name="connsiteY223" fmla="*/ 3806381 h 5800534"/>
                  <a:gd name="connsiteX224" fmla="*/ 5402009 w 5402008"/>
                  <a:gd name="connsiteY224" fmla="*/ 3629311 h 5800534"/>
                  <a:gd name="connsiteX225" fmla="*/ 5382292 w 5402008"/>
                  <a:gd name="connsiteY225" fmla="*/ 3609594 h 5800534"/>
                  <a:gd name="connsiteX226" fmla="*/ 2919032 w 5402008"/>
                  <a:gd name="connsiteY226" fmla="*/ 19717 h 5800534"/>
                  <a:gd name="connsiteX227" fmla="*/ 2899315 w 5402008"/>
                  <a:gd name="connsiteY227" fmla="*/ 0 h 5800534"/>
                  <a:gd name="connsiteX228" fmla="*/ 2722245 w 5402008"/>
                  <a:gd name="connsiteY228" fmla="*/ 0 h 5800534"/>
                  <a:gd name="connsiteX229" fmla="*/ 2702528 w 5402008"/>
                  <a:gd name="connsiteY229" fmla="*/ 19717 h 5800534"/>
                  <a:gd name="connsiteX230" fmla="*/ 2722245 w 5402008"/>
                  <a:gd name="connsiteY230" fmla="*/ 39434 h 5800534"/>
                  <a:gd name="connsiteX231" fmla="*/ 2899315 w 5402008"/>
                  <a:gd name="connsiteY231" fmla="*/ 39434 h 5800534"/>
                  <a:gd name="connsiteX232" fmla="*/ 2919032 w 5402008"/>
                  <a:gd name="connsiteY232" fmla="*/ 19717 h 5800534"/>
                  <a:gd name="connsiteX233" fmla="*/ 5382292 w 5402008"/>
                  <a:gd name="connsiteY233" fmla="*/ 3963829 h 5800534"/>
                  <a:gd name="connsiteX234" fmla="*/ 5362575 w 5402008"/>
                  <a:gd name="connsiteY234" fmla="*/ 3983546 h 5800534"/>
                  <a:gd name="connsiteX235" fmla="*/ 5362575 w 5402008"/>
                  <a:gd name="connsiteY235" fmla="*/ 4160711 h 5800534"/>
                  <a:gd name="connsiteX236" fmla="*/ 5382292 w 5402008"/>
                  <a:gd name="connsiteY236" fmla="*/ 4180427 h 5800534"/>
                  <a:gd name="connsiteX237" fmla="*/ 5402009 w 5402008"/>
                  <a:gd name="connsiteY237" fmla="*/ 4160711 h 5800534"/>
                  <a:gd name="connsiteX238" fmla="*/ 5402009 w 5402008"/>
                  <a:gd name="connsiteY238" fmla="*/ 3983546 h 5800534"/>
                  <a:gd name="connsiteX239" fmla="*/ 5382292 w 5402008"/>
                  <a:gd name="connsiteY239" fmla="*/ 3963829 h 5800534"/>
                  <a:gd name="connsiteX240" fmla="*/ 5382292 w 5402008"/>
                  <a:gd name="connsiteY240" fmla="*/ 4318064 h 5800534"/>
                  <a:gd name="connsiteX241" fmla="*/ 5362575 w 5402008"/>
                  <a:gd name="connsiteY241" fmla="*/ 4337781 h 5800534"/>
                  <a:gd name="connsiteX242" fmla="*/ 5362575 w 5402008"/>
                  <a:gd name="connsiteY242" fmla="*/ 4514945 h 5800534"/>
                  <a:gd name="connsiteX243" fmla="*/ 5382292 w 5402008"/>
                  <a:gd name="connsiteY243" fmla="*/ 4534662 h 5800534"/>
                  <a:gd name="connsiteX244" fmla="*/ 5402009 w 5402008"/>
                  <a:gd name="connsiteY244" fmla="*/ 4514945 h 5800534"/>
                  <a:gd name="connsiteX245" fmla="*/ 5402009 w 5402008"/>
                  <a:gd name="connsiteY245" fmla="*/ 4337781 h 5800534"/>
                  <a:gd name="connsiteX246" fmla="*/ 5382292 w 5402008"/>
                  <a:gd name="connsiteY246" fmla="*/ 4318064 h 5800534"/>
                  <a:gd name="connsiteX247" fmla="*/ 5382292 w 5402008"/>
                  <a:gd name="connsiteY247" fmla="*/ 5026533 h 5800534"/>
                  <a:gd name="connsiteX248" fmla="*/ 5362575 w 5402008"/>
                  <a:gd name="connsiteY248" fmla="*/ 5046250 h 5800534"/>
                  <a:gd name="connsiteX249" fmla="*/ 5362575 w 5402008"/>
                  <a:gd name="connsiteY249" fmla="*/ 5202746 h 5800534"/>
                  <a:gd name="connsiteX250" fmla="*/ 5362194 w 5402008"/>
                  <a:gd name="connsiteY250" fmla="*/ 5222748 h 5800534"/>
                  <a:gd name="connsiteX251" fmla="*/ 5381244 w 5402008"/>
                  <a:gd name="connsiteY251" fmla="*/ 5243227 h 5800534"/>
                  <a:gd name="connsiteX252" fmla="*/ 5381911 w 5402008"/>
                  <a:gd name="connsiteY252" fmla="*/ 5243227 h 5800534"/>
                  <a:gd name="connsiteX253" fmla="*/ 5401628 w 5402008"/>
                  <a:gd name="connsiteY253" fmla="*/ 5224177 h 5800534"/>
                  <a:gd name="connsiteX254" fmla="*/ 5402009 w 5402008"/>
                  <a:gd name="connsiteY254" fmla="*/ 5202841 h 5800534"/>
                  <a:gd name="connsiteX255" fmla="*/ 5402009 w 5402008"/>
                  <a:gd name="connsiteY255" fmla="*/ 5046346 h 5800534"/>
                  <a:gd name="connsiteX256" fmla="*/ 5382292 w 5402008"/>
                  <a:gd name="connsiteY256" fmla="*/ 5026533 h 5800534"/>
                  <a:gd name="connsiteX257" fmla="*/ 5382292 w 5402008"/>
                  <a:gd name="connsiteY257" fmla="*/ 4672299 h 5800534"/>
                  <a:gd name="connsiteX258" fmla="*/ 5362575 w 5402008"/>
                  <a:gd name="connsiteY258" fmla="*/ 4692015 h 5800534"/>
                  <a:gd name="connsiteX259" fmla="*/ 5362575 w 5402008"/>
                  <a:gd name="connsiteY259" fmla="*/ 4869085 h 5800534"/>
                  <a:gd name="connsiteX260" fmla="*/ 5382292 w 5402008"/>
                  <a:gd name="connsiteY260" fmla="*/ 4888802 h 5800534"/>
                  <a:gd name="connsiteX261" fmla="*/ 5402009 w 5402008"/>
                  <a:gd name="connsiteY261" fmla="*/ 4869085 h 5800534"/>
                  <a:gd name="connsiteX262" fmla="*/ 5402009 w 5402008"/>
                  <a:gd name="connsiteY262" fmla="*/ 4692015 h 5800534"/>
                  <a:gd name="connsiteX263" fmla="*/ 5382292 w 5402008"/>
                  <a:gd name="connsiteY263" fmla="*/ 4672299 h 5800534"/>
                  <a:gd name="connsiteX264" fmla="*/ 5382292 w 5402008"/>
                  <a:gd name="connsiteY264" fmla="*/ 2901125 h 5800534"/>
                  <a:gd name="connsiteX265" fmla="*/ 5362575 w 5402008"/>
                  <a:gd name="connsiteY265" fmla="*/ 2920841 h 5800534"/>
                  <a:gd name="connsiteX266" fmla="*/ 5362575 w 5402008"/>
                  <a:gd name="connsiteY266" fmla="*/ 3097911 h 5800534"/>
                  <a:gd name="connsiteX267" fmla="*/ 5382292 w 5402008"/>
                  <a:gd name="connsiteY267" fmla="*/ 3117628 h 5800534"/>
                  <a:gd name="connsiteX268" fmla="*/ 5402009 w 5402008"/>
                  <a:gd name="connsiteY268" fmla="*/ 3097911 h 5800534"/>
                  <a:gd name="connsiteX269" fmla="*/ 5402009 w 5402008"/>
                  <a:gd name="connsiteY269" fmla="*/ 2920841 h 5800534"/>
                  <a:gd name="connsiteX270" fmla="*/ 5382292 w 5402008"/>
                  <a:gd name="connsiteY270" fmla="*/ 2901125 h 5800534"/>
                  <a:gd name="connsiteX271" fmla="*/ 5382292 w 5402008"/>
                  <a:gd name="connsiteY271" fmla="*/ 2546890 h 5800534"/>
                  <a:gd name="connsiteX272" fmla="*/ 5362575 w 5402008"/>
                  <a:gd name="connsiteY272" fmla="*/ 2566607 h 5800534"/>
                  <a:gd name="connsiteX273" fmla="*/ 5362575 w 5402008"/>
                  <a:gd name="connsiteY273" fmla="*/ 2743772 h 5800534"/>
                  <a:gd name="connsiteX274" fmla="*/ 5382292 w 5402008"/>
                  <a:gd name="connsiteY274" fmla="*/ 2763488 h 5800534"/>
                  <a:gd name="connsiteX275" fmla="*/ 5402009 w 5402008"/>
                  <a:gd name="connsiteY275" fmla="*/ 2743772 h 5800534"/>
                  <a:gd name="connsiteX276" fmla="*/ 5402009 w 5402008"/>
                  <a:gd name="connsiteY276" fmla="*/ 2566607 h 5800534"/>
                  <a:gd name="connsiteX277" fmla="*/ 5382292 w 5402008"/>
                  <a:gd name="connsiteY277" fmla="*/ 2546890 h 5800534"/>
                  <a:gd name="connsiteX278" fmla="*/ 5382292 w 5402008"/>
                  <a:gd name="connsiteY278" fmla="*/ 1129951 h 5800534"/>
                  <a:gd name="connsiteX279" fmla="*/ 5362575 w 5402008"/>
                  <a:gd name="connsiteY279" fmla="*/ 1149668 h 5800534"/>
                  <a:gd name="connsiteX280" fmla="*/ 5362575 w 5402008"/>
                  <a:gd name="connsiteY280" fmla="*/ 1326833 h 5800534"/>
                  <a:gd name="connsiteX281" fmla="*/ 5382292 w 5402008"/>
                  <a:gd name="connsiteY281" fmla="*/ 1346549 h 5800534"/>
                  <a:gd name="connsiteX282" fmla="*/ 5402009 w 5402008"/>
                  <a:gd name="connsiteY282" fmla="*/ 1326833 h 5800534"/>
                  <a:gd name="connsiteX283" fmla="*/ 5402009 w 5402008"/>
                  <a:gd name="connsiteY283" fmla="*/ 1149668 h 5800534"/>
                  <a:gd name="connsiteX284" fmla="*/ 5382292 w 5402008"/>
                  <a:gd name="connsiteY284" fmla="*/ 1129951 h 5800534"/>
                  <a:gd name="connsiteX285" fmla="*/ 5382292 w 5402008"/>
                  <a:gd name="connsiteY285" fmla="*/ 775716 h 5800534"/>
                  <a:gd name="connsiteX286" fmla="*/ 5362575 w 5402008"/>
                  <a:gd name="connsiteY286" fmla="*/ 795433 h 5800534"/>
                  <a:gd name="connsiteX287" fmla="*/ 5362575 w 5402008"/>
                  <a:gd name="connsiteY287" fmla="*/ 972503 h 5800534"/>
                  <a:gd name="connsiteX288" fmla="*/ 5382292 w 5402008"/>
                  <a:gd name="connsiteY288" fmla="*/ 992219 h 5800534"/>
                  <a:gd name="connsiteX289" fmla="*/ 5402009 w 5402008"/>
                  <a:gd name="connsiteY289" fmla="*/ 972503 h 5800534"/>
                  <a:gd name="connsiteX290" fmla="*/ 5402009 w 5402008"/>
                  <a:gd name="connsiteY290" fmla="*/ 795528 h 5800534"/>
                  <a:gd name="connsiteX291" fmla="*/ 5382292 w 5402008"/>
                  <a:gd name="connsiteY291" fmla="*/ 775716 h 5800534"/>
                  <a:gd name="connsiteX292" fmla="*/ 5380387 w 5402008"/>
                  <a:gd name="connsiteY292" fmla="*/ 437960 h 5800534"/>
                  <a:gd name="connsiteX293" fmla="*/ 5356098 w 5402008"/>
                  <a:gd name="connsiteY293" fmla="*/ 424148 h 5800534"/>
                  <a:gd name="connsiteX294" fmla="*/ 5342287 w 5402008"/>
                  <a:gd name="connsiteY294" fmla="*/ 448437 h 5800534"/>
                  <a:gd name="connsiteX295" fmla="*/ 5362480 w 5402008"/>
                  <a:gd name="connsiteY295" fmla="*/ 597789 h 5800534"/>
                  <a:gd name="connsiteX296" fmla="*/ 5362480 w 5402008"/>
                  <a:gd name="connsiteY296" fmla="*/ 618363 h 5800534"/>
                  <a:gd name="connsiteX297" fmla="*/ 5382197 w 5402008"/>
                  <a:gd name="connsiteY297" fmla="*/ 638080 h 5800534"/>
                  <a:gd name="connsiteX298" fmla="*/ 5401914 w 5402008"/>
                  <a:gd name="connsiteY298" fmla="*/ 618363 h 5800534"/>
                  <a:gd name="connsiteX299" fmla="*/ 5401914 w 5402008"/>
                  <a:gd name="connsiteY299" fmla="*/ 597789 h 5800534"/>
                  <a:gd name="connsiteX300" fmla="*/ 5380387 w 5402008"/>
                  <a:gd name="connsiteY300" fmla="*/ 437960 h 5800534"/>
                  <a:gd name="connsiteX301" fmla="*/ 5382292 w 5402008"/>
                  <a:gd name="connsiteY301" fmla="*/ 2192655 h 5800534"/>
                  <a:gd name="connsiteX302" fmla="*/ 5362575 w 5402008"/>
                  <a:gd name="connsiteY302" fmla="*/ 2212372 h 5800534"/>
                  <a:gd name="connsiteX303" fmla="*/ 5362575 w 5402008"/>
                  <a:gd name="connsiteY303" fmla="*/ 2389537 h 5800534"/>
                  <a:gd name="connsiteX304" fmla="*/ 5382292 w 5402008"/>
                  <a:gd name="connsiteY304" fmla="*/ 2409254 h 5800534"/>
                  <a:gd name="connsiteX305" fmla="*/ 5402009 w 5402008"/>
                  <a:gd name="connsiteY305" fmla="*/ 2389537 h 5800534"/>
                  <a:gd name="connsiteX306" fmla="*/ 5402009 w 5402008"/>
                  <a:gd name="connsiteY306" fmla="*/ 2212372 h 5800534"/>
                  <a:gd name="connsiteX307" fmla="*/ 5382292 w 5402008"/>
                  <a:gd name="connsiteY307" fmla="*/ 2192655 h 5800534"/>
                  <a:gd name="connsiteX308" fmla="*/ 5355622 w 5402008"/>
                  <a:gd name="connsiteY308" fmla="*/ 5378101 h 5800534"/>
                  <a:gd name="connsiteX309" fmla="*/ 5330381 w 5402008"/>
                  <a:gd name="connsiteY309" fmla="*/ 5390102 h 5800534"/>
                  <a:gd name="connsiteX310" fmla="*/ 5249323 w 5402008"/>
                  <a:gd name="connsiteY310" fmla="*/ 5539931 h 5800534"/>
                  <a:gd name="connsiteX311" fmla="*/ 5253133 w 5402008"/>
                  <a:gd name="connsiteY311" fmla="*/ 5567649 h 5800534"/>
                  <a:gd name="connsiteX312" fmla="*/ 5265039 w 5402008"/>
                  <a:gd name="connsiteY312" fmla="*/ 5571649 h 5800534"/>
                  <a:gd name="connsiteX313" fmla="*/ 5280755 w 5402008"/>
                  <a:gd name="connsiteY313" fmla="*/ 5563838 h 5800534"/>
                  <a:gd name="connsiteX314" fmla="*/ 5367528 w 5402008"/>
                  <a:gd name="connsiteY314" fmla="*/ 5403342 h 5800534"/>
                  <a:gd name="connsiteX315" fmla="*/ 5355622 w 5402008"/>
                  <a:gd name="connsiteY315" fmla="*/ 5378101 h 5800534"/>
                  <a:gd name="connsiteX316" fmla="*/ 5382292 w 5402008"/>
                  <a:gd name="connsiteY316" fmla="*/ 1838420 h 5800534"/>
                  <a:gd name="connsiteX317" fmla="*/ 5362575 w 5402008"/>
                  <a:gd name="connsiteY317" fmla="*/ 1858137 h 5800534"/>
                  <a:gd name="connsiteX318" fmla="*/ 5362575 w 5402008"/>
                  <a:gd name="connsiteY318" fmla="*/ 2035207 h 5800534"/>
                  <a:gd name="connsiteX319" fmla="*/ 5382292 w 5402008"/>
                  <a:gd name="connsiteY319" fmla="*/ 2054924 h 5800534"/>
                  <a:gd name="connsiteX320" fmla="*/ 5402009 w 5402008"/>
                  <a:gd name="connsiteY320" fmla="*/ 2035207 h 5800534"/>
                  <a:gd name="connsiteX321" fmla="*/ 5402009 w 5402008"/>
                  <a:gd name="connsiteY321" fmla="*/ 1858137 h 5800534"/>
                  <a:gd name="connsiteX322" fmla="*/ 5382292 w 5402008"/>
                  <a:gd name="connsiteY322" fmla="*/ 1838420 h 5800534"/>
                  <a:gd name="connsiteX323" fmla="*/ 5382292 w 5402008"/>
                  <a:gd name="connsiteY323" fmla="*/ 1484186 h 5800534"/>
                  <a:gd name="connsiteX324" fmla="*/ 5362575 w 5402008"/>
                  <a:gd name="connsiteY324" fmla="*/ 1503902 h 5800534"/>
                  <a:gd name="connsiteX325" fmla="*/ 5362575 w 5402008"/>
                  <a:gd name="connsiteY325" fmla="*/ 1681067 h 5800534"/>
                  <a:gd name="connsiteX326" fmla="*/ 5382292 w 5402008"/>
                  <a:gd name="connsiteY326" fmla="*/ 1700784 h 5800534"/>
                  <a:gd name="connsiteX327" fmla="*/ 5402009 w 5402008"/>
                  <a:gd name="connsiteY327" fmla="*/ 1681067 h 5800534"/>
                  <a:gd name="connsiteX328" fmla="*/ 5402009 w 5402008"/>
                  <a:gd name="connsiteY328" fmla="*/ 1503902 h 5800534"/>
                  <a:gd name="connsiteX329" fmla="*/ 5382292 w 5402008"/>
                  <a:gd name="connsiteY329" fmla="*/ 1484186 h 5800534"/>
                  <a:gd name="connsiteX330" fmla="*/ 5382292 w 5402008"/>
                  <a:gd name="connsiteY330" fmla="*/ 3255359 h 5800534"/>
                  <a:gd name="connsiteX331" fmla="*/ 5362575 w 5402008"/>
                  <a:gd name="connsiteY331" fmla="*/ 3275076 h 5800534"/>
                  <a:gd name="connsiteX332" fmla="*/ 5362575 w 5402008"/>
                  <a:gd name="connsiteY332" fmla="*/ 3452241 h 5800534"/>
                  <a:gd name="connsiteX333" fmla="*/ 5382292 w 5402008"/>
                  <a:gd name="connsiteY333" fmla="*/ 3471958 h 5800534"/>
                  <a:gd name="connsiteX334" fmla="*/ 5402009 w 5402008"/>
                  <a:gd name="connsiteY334" fmla="*/ 3452241 h 5800534"/>
                  <a:gd name="connsiteX335" fmla="*/ 5402009 w 5402008"/>
                  <a:gd name="connsiteY335" fmla="*/ 3275076 h 5800534"/>
                  <a:gd name="connsiteX336" fmla="*/ 5382292 w 5402008"/>
                  <a:gd name="connsiteY336" fmla="*/ 3255359 h 5800534"/>
                  <a:gd name="connsiteX337" fmla="*/ 5288756 w 5402008"/>
                  <a:gd name="connsiteY337" fmla="*/ 302228 h 5800534"/>
                  <a:gd name="connsiteX338" fmla="*/ 5299520 w 5402008"/>
                  <a:gd name="connsiteY338" fmla="*/ 298990 h 5800534"/>
                  <a:gd name="connsiteX339" fmla="*/ 5305235 w 5402008"/>
                  <a:gd name="connsiteY339" fmla="*/ 271653 h 5800534"/>
                  <a:gd name="connsiteX340" fmla="*/ 5183505 w 5402008"/>
                  <a:gd name="connsiteY340" fmla="*/ 135827 h 5800534"/>
                  <a:gd name="connsiteX341" fmla="*/ 5155693 w 5402008"/>
                  <a:gd name="connsiteY341" fmla="*/ 138589 h 5800534"/>
                  <a:gd name="connsiteX342" fmla="*/ 5158455 w 5402008"/>
                  <a:gd name="connsiteY342" fmla="*/ 166402 h 5800534"/>
                  <a:gd name="connsiteX343" fmla="*/ 5272088 w 5402008"/>
                  <a:gd name="connsiteY343" fmla="*/ 293370 h 5800534"/>
                  <a:gd name="connsiteX344" fmla="*/ 5288756 w 5402008"/>
                  <a:gd name="connsiteY344" fmla="*/ 302228 h 5800534"/>
                  <a:gd name="connsiteX345" fmla="*/ 3627501 w 5402008"/>
                  <a:gd name="connsiteY345" fmla="*/ 19717 h 5800534"/>
                  <a:gd name="connsiteX346" fmla="*/ 3607784 w 5402008"/>
                  <a:gd name="connsiteY346" fmla="*/ 0 h 5800534"/>
                  <a:gd name="connsiteX347" fmla="*/ 3430715 w 5402008"/>
                  <a:gd name="connsiteY347" fmla="*/ 0 h 5800534"/>
                  <a:gd name="connsiteX348" fmla="*/ 3410998 w 5402008"/>
                  <a:gd name="connsiteY348" fmla="*/ 19717 h 5800534"/>
                  <a:gd name="connsiteX349" fmla="*/ 3430715 w 5402008"/>
                  <a:gd name="connsiteY349" fmla="*/ 39434 h 5800534"/>
                  <a:gd name="connsiteX350" fmla="*/ 3607784 w 5402008"/>
                  <a:gd name="connsiteY350" fmla="*/ 39434 h 5800534"/>
                  <a:gd name="connsiteX351" fmla="*/ 3627501 w 5402008"/>
                  <a:gd name="connsiteY351" fmla="*/ 19717 h 5800534"/>
                  <a:gd name="connsiteX352" fmla="*/ 3981736 w 5402008"/>
                  <a:gd name="connsiteY352" fmla="*/ 19717 h 5800534"/>
                  <a:gd name="connsiteX353" fmla="*/ 3962019 w 5402008"/>
                  <a:gd name="connsiteY353" fmla="*/ 0 h 5800534"/>
                  <a:gd name="connsiteX354" fmla="*/ 3784854 w 5402008"/>
                  <a:gd name="connsiteY354" fmla="*/ 0 h 5800534"/>
                  <a:gd name="connsiteX355" fmla="*/ 3765137 w 5402008"/>
                  <a:gd name="connsiteY355" fmla="*/ 19717 h 5800534"/>
                  <a:gd name="connsiteX356" fmla="*/ 3784854 w 5402008"/>
                  <a:gd name="connsiteY356" fmla="*/ 39434 h 5800534"/>
                  <a:gd name="connsiteX357" fmla="*/ 3962019 w 5402008"/>
                  <a:gd name="connsiteY357" fmla="*/ 39434 h 5800534"/>
                  <a:gd name="connsiteX358" fmla="*/ 3981736 w 5402008"/>
                  <a:gd name="connsiteY358" fmla="*/ 19717 h 5800534"/>
                  <a:gd name="connsiteX359" fmla="*/ 3741420 w 5402008"/>
                  <a:gd name="connsiteY359" fmla="*/ 5761101 h 5800534"/>
                  <a:gd name="connsiteX360" fmla="*/ 3564255 w 5402008"/>
                  <a:gd name="connsiteY360" fmla="*/ 5761101 h 5800534"/>
                  <a:gd name="connsiteX361" fmla="*/ 3544538 w 5402008"/>
                  <a:gd name="connsiteY361" fmla="*/ 5780818 h 5800534"/>
                  <a:gd name="connsiteX362" fmla="*/ 3564255 w 5402008"/>
                  <a:gd name="connsiteY362" fmla="*/ 5800535 h 5800534"/>
                  <a:gd name="connsiteX363" fmla="*/ 3741420 w 5402008"/>
                  <a:gd name="connsiteY363" fmla="*/ 5800535 h 5800534"/>
                  <a:gd name="connsiteX364" fmla="*/ 3761137 w 5402008"/>
                  <a:gd name="connsiteY364" fmla="*/ 5780818 h 5800534"/>
                  <a:gd name="connsiteX365" fmla="*/ 3741420 w 5402008"/>
                  <a:gd name="connsiteY365" fmla="*/ 5761101 h 5800534"/>
                  <a:gd name="connsiteX366" fmla="*/ 3032951 w 5402008"/>
                  <a:gd name="connsiteY366" fmla="*/ 5761101 h 5800534"/>
                  <a:gd name="connsiteX367" fmla="*/ 2855881 w 5402008"/>
                  <a:gd name="connsiteY367" fmla="*/ 5761101 h 5800534"/>
                  <a:gd name="connsiteX368" fmla="*/ 2836164 w 5402008"/>
                  <a:gd name="connsiteY368" fmla="*/ 5780818 h 5800534"/>
                  <a:gd name="connsiteX369" fmla="*/ 2855881 w 5402008"/>
                  <a:gd name="connsiteY369" fmla="*/ 5800535 h 5800534"/>
                  <a:gd name="connsiteX370" fmla="*/ 3032951 w 5402008"/>
                  <a:gd name="connsiteY370" fmla="*/ 5800535 h 5800534"/>
                  <a:gd name="connsiteX371" fmla="*/ 3052667 w 5402008"/>
                  <a:gd name="connsiteY371" fmla="*/ 5780818 h 5800534"/>
                  <a:gd name="connsiteX372" fmla="*/ 3032951 w 5402008"/>
                  <a:gd name="connsiteY372" fmla="*/ 5761101 h 5800534"/>
                  <a:gd name="connsiteX373" fmla="*/ 3387185 w 5402008"/>
                  <a:gd name="connsiteY373" fmla="*/ 5761101 h 5800534"/>
                  <a:gd name="connsiteX374" fmla="*/ 3210116 w 5402008"/>
                  <a:gd name="connsiteY374" fmla="*/ 5761101 h 5800534"/>
                  <a:gd name="connsiteX375" fmla="*/ 3190399 w 5402008"/>
                  <a:gd name="connsiteY375" fmla="*/ 5780818 h 5800534"/>
                  <a:gd name="connsiteX376" fmla="*/ 3210116 w 5402008"/>
                  <a:gd name="connsiteY376" fmla="*/ 5800535 h 5800534"/>
                  <a:gd name="connsiteX377" fmla="*/ 3387185 w 5402008"/>
                  <a:gd name="connsiteY377" fmla="*/ 5800535 h 5800534"/>
                  <a:gd name="connsiteX378" fmla="*/ 3406902 w 5402008"/>
                  <a:gd name="connsiteY378" fmla="*/ 5780818 h 5800534"/>
                  <a:gd name="connsiteX379" fmla="*/ 3387185 w 5402008"/>
                  <a:gd name="connsiteY379" fmla="*/ 5761101 h 5800534"/>
                  <a:gd name="connsiteX380" fmla="*/ 3273266 w 5402008"/>
                  <a:gd name="connsiteY380" fmla="*/ 19717 h 5800534"/>
                  <a:gd name="connsiteX381" fmla="*/ 3253549 w 5402008"/>
                  <a:gd name="connsiteY381" fmla="*/ 0 h 5800534"/>
                  <a:gd name="connsiteX382" fmla="*/ 3076480 w 5402008"/>
                  <a:gd name="connsiteY382" fmla="*/ 0 h 5800534"/>
                  <a:gd name="connsiteX383" fmla="*/ 3056763 w 5402008"/>
                  <a:gd name="connsiteY383" fmla="*/ 19717 h 5800534"/>
                  <a:gd name="connsiteX384" fmla="*/ 3076480 w 5402008"/>
                  <a:gd name="connsiteY384" fmla="*/ 39434 h 5800534"/>
                  <a:gd name="connsiteX385" fmla="*/ 3253549 w 5402008"/>
                  <a:gd name="connsiteY385" fmla="*/ 39434 h 5800534"/>
                  <a:gd name="connsiteX386" fmla="*/ 3273266 w 5402008"/>
                  <a:gd name="connsiteY386" fmla="*/ 19717 h 5800534"/>
                  <a:gd name="connsiteX387" fmla="*/ 4095655 w 5402008"/>
                  <a:gd name="connsiteY387" fmla="*/ 5761101 h 5800534"/>
                  <a:gd name="connsiteX388" fmla="*/ 3918490 w 5402008"/>
                  <a:gd name="connsiteY388" fmla="*/ 5761101 h 5800534"/>
                  <a:gd name="connsiteX389" fmla="*/ 3898773 w 5402008"/>
                  <a:gd name="connsiteY389" fmla="*/ 5780818 h 5800534"/>
                  <a:gd name="connsiteX390" fmla="*/ 3918490 w 5402008"/>
                  <a:gd name="connsiteY390" fmla="*/ 5800535 h 5800534"/>
                  <a:gd name="connsiteX391" fmla="*/ 4095655 w 5402008"/>
                  <a:gd name="connsiteY391" fmla="*/ 5800535 h 5800534"/>
                  <a:gd name="connsiteX392" fmla="*/ 4115372 w 5402008"/>
                  <a:gd name="connsiteY392" fmla="*/ 5780818 h 5800534"/>
                  <a:gd name="connsiteX393" fmla="*/ 4095655 w 5402008"/>
                  <a:gd name="connsiteY393" fmla="*/ 5761101 h 5800534"/>
                  <a:gd name="connsiteX394" fmla="*/ 5019389 w 5402008"/>
                  <a:gd name="connsiteY394" fmla="*/ 80867 h 5800534"/>
                  <a:gd name="connsiteX395" fmla="*/ 5037773 w 5402008"/>
                  <a:gd name="connsiteY395" fmla="*/ 68485 h 5800534"/>
                  <a:gd name="connsiteX396" fmla="*/ 5026819 w 5402008"/>
                  <a:gd name="connsiteY396" fmla="*/ 42767 h 5800534"/>
                  <a:gd name="connsiteX397" fmla="*/ 4849082 w 5402008"/>
                  <a:gd name="connsiteY397" fmla="*/ 1619 h 5800534"/>
                  <a:gd name="connsiteX398" fmla="*/ 4827937 w 5402008"/>
                  <a:gd name="connsiteY398" fmla="*/ 19907 h 5800534"/>
                  <a:gd name="connsiteX399" fmla="*/ 4846225 w 5402008"/>
                  <a:gd name="connsiteY399" fmla="*/ 41053 h 5800534"/>
                  <a:gd name="connsiteX400" fmla="*/ 5012151 w 5402008"/>
                  <a:gd name="connsiteY400" fmla="*/ 79439 h 5800534"/>
                  <a:gd name="connsiteX401" fmla="*/ 5019389 w 5402008"/>
                  <a:gd name="connsiteY401" fmla="*/ 80867 h 5800534"/>
                  <a:gd name="connsiteX402" fmla="*/ 4806410 w 5402008"/>
                  <a:gd name="connsiteY402" fmla="*/ 5761101 h 5800534"/>
                  <a:gd name="connsiteX403" fmla="*/ 4627055 w 5402008"/>
                  <a:gd name="connsiteY403" fmla="*/ 5761101 h 5800534"/>
                  <a:gd name="connsiteX404" fmla="*/ 4607338 w 5402008"/>
                  <a:gd name="connsiteY404" fmla="*/ 5780818 h 5800534"/>
                  <a:gd name="connsiteX405" fmla="*/ 4627055 w 5402008"/>
                  <a:gd name="connsiteY405" fmla="*/ 5800535 h 5800534"/>
                  <a:gd name="connsiteX406" fmla="*/ 4804410 w 5402008"/>
                  <a:gd name="connsiteY406" fmla="*/ 5800535 h 5800534"/>
                  <a:gd name="connsiteX407" fmla="*/ 4806315 w 5402008"/>
                  <a:gd name="connsiteY407" fmla="*/ 5800535 h 5800534"/>
                  <a:gd name="connsiteX408" fmla="*/ 4826032 w 5402008"/>
                  <a:gd name="connsiteY408" fmla="*/ 5780818 h 5800534"/>
                  <a:gd name="connsiteX409" fmla="*/ 4806410 w 5402008"/>
                  <a:gd name="connsiteY409" fmla="*/ 5761101 h 5800534"/>
                  <a:gd name="connsiteX410" fmla="*/ 4335971 w 5402008"/>
                  <a:gd name="connsiteY410" fmla="*/ 19717 h 5800534"/>
                  <a:gd name="connsiteX411" fmla="*/ 4316254 w 5402008"/>
                  <a:gd name="connsiteY411" fmla="*/ 0 h 5800534"/>
                  <a:gd name="connsiteX412" fmla="*/ 4139184 w 5402008"/>
                  <a:gd name="connsiteY412" fmla="*/ 0 h 5800534"/>
                  <a:gd name="connsiteX413" fmla="*/ 4119467 w 5402008"/>
                  <a:gd name="connsiteY413" fmla="*/ 19717 h 5800534"/>
                  <a:gd name="connsiteX414" fmla="*/ 4139184 w 5402008"/>
                  <a:gd name="connsiteY414" fmla="*/ 39434 h 5800534"/>
                  <a:gd name="connsiteX415" fmla="*/ 4316254 w 5402008"/>
                  <a:gd name="connsiteY415" fmla="*/ 39434 h 5800534"/>
                  <a:gd name="connsiteX416" fmla="*/ 4335971 w 5402008"/>
                  <a:gd name="connsiteY416" fmla="*/ 19717 h 5800534"/>
                  <a:gd name="connsiteX417" fmla="*/ 5126927 w 5402008"/>
                  <a:gd name="connsiteY417" fmla="*/ 5658422 h 5800534"/>
                  <a:gd name="connsiteX418" fmla="*/ 4974622 w 5402008"/>
                  <a:gd name="connsiteY418" fmla="*/ 5734622 h 5800534"/>
                  <a:gd name="connsiteX419" fmla="*/ 4961858 w 5402008"/>
                  <a:gd name="connsiteY419" fmla="*/ 5759482 h 5800534"/>
                  <a:gd name="connsiteX420" fmla="*/ 4980718 w 5402008"/>
                  <a:gd name="connsiteY420" fmla="*/ 5773198 h 5800534"/>
                  <a:gd name="connsiteX421" fmla="*/ 4986719 w 5402008"/>
                  <a:gd name="connsiteY421" fmla="*/ 5772245 h 5800534"/>
                  <a:gd name="connsiteX422" fmla="*/ 5149882 w 5402008"/>
                  <a:gd name="connsiteY422" fmla="*/ 5690616 h 5800534"/>
                  <a:gd name="connsiteX423" fmla="*/ 5154549 w 5402008"/>
                  <a:gd name="connsiteY423" fmla="*/ 5663089 h 5800534"/>
                  <a:gd name="connsiteX424" fmla="*/ 5126927 w 5402008"/>
                  <a:gd name="connsiteY424" fmla="*/ 5658422 h 5800534"/>
                  <a:gd name="connsiteX425" fmla="*/ 4690206 w 5402008"/>
                  <a:gd name="connsiteY425" fmla="*/ 19717 h 5800534"/>
                  <a:gd name="connsiteX426" fmla="*/ 4670489 w 5402008"/>
                  <a:gd name="connsiteY426" fmla="*/ 0 h 5800534"/>
                  <a:gd name="connsiteX427" fmla="*/ 4493419 w 5402008"/>
                  <a:gd name="connsiteY427" fmla="*/ 0 h 5800534"/>
                  <a:gd name="connsiteX428" fmla="*/ 4473702 w 5402008"/>
                  <a:gd name="connsiteY428" fmla="*/ 19717 h 5800534"/>
                  <a:gd name="connsiteX429" fmla="*/ 4493419 w 5402008"/>
                  <a:gd name="connsiteY429" fmla="*/ 39434 h 5800534"/>
                  <a:gd name="connsiteX430" fmla="*/ 4670489 w 5402008"/>
                  <a:gd name="connsiteY430" fmla="*/ 39434 h 5800534"/>
                  <a:gd name="connsiteX431" fmla="*/ 4690206 w 5402008"/>
                  <a:gd name="connsiteY431" fmla="*/ 19717 h 5800534"/>
                  <a:gd name="connsiteX432" fmla="*/ 4449890 w 5402008"/>
                  <a:gd name="connsiteY432" fmla="*/ 5761101 h 5800534"/>
                  <a:gd name="connsiteX433" fmla="*/ 4272820 w 5402008"/>
                  <a:gd name="connsiteY433" fmla="*/ 5761101 h 5800534"/>
                  <a:gd name="connsiteX434" fmla="*/ 4253103 w 5402008"/>
                  <a:gd name="connsiteY434" fmla="*/ 5780818 h 5800534"/>
                  <a:gd name="connsiteX435" fmla="*/ 4272820 w 5402008"/>
                  <a:gd name="connsiteY435" fmla="*/ 5800535 h 5800534"/>
                  <a:gd name="connsiteX436" fmla="*/ 4449890 w 5402008"/>
                  <a:gd name="connsiteY436" fmla="*/ 5800535 h 5800534"/>
                  <a:gd name="connsiteX437" fmla="*/ 4469606 w 5402008"/>
                  <a:gd name="connsiteY437" fmla="*/ 5780818 h 5800534"/>
                  <a:gd name="connsiteX438" fmla="*/ 4449890 w 5402008"/>
                  <a:gd name="connsiteY438" fmla="*/ 5761101 h 58005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</a:cxnLst>
                <a:rect l="l" t="t" r="r" b="b"/>
                <a:pathLst>
                  <a:path w="5402008" h="5800534">
                    <a:moveTo>
                      <a:pt x="1147858" y="19717"/>
                    </a:moveTo>
                    <a:cubicBezTo>
                      <a:pt x="1147858" y="8763"/>
                      <a:pt x="1139000" y="0"/>
                      <a:pt x="1128141" y="0"/>
                    </a:cubicBezTo>
                    <a:lnTo>
                      <a:pt x="950976" y="0"/>
                    </a:lnTo>
                    <a:cubicBezTo>
                      <a:pt x="940022" y="0"/>
                      <a:pt x="931259" y="8858"/>
                      <a:pt x="931259" y="19717"/>
                    </a:cubicBezTo>
                    <a:cubicBezTo>
                      <a:pt x="931259" y="30670"/>
                      <a:pt x="940118" y="39434"/>
                      <a:pt x="950976" y="39434"/>
                    </a:cubicBezTo>
                    <a:lnTo>
                      <a:pt x="1128141" y="39434"/>
                    </a:lnTo>
                    <a:cubicBezTo>
                      <a:pt x="1139000" y="39434"/>
                      <a:pt x="1147858" y="30670"/>
                      <a:pt x="1147858" y="19717"/>
                    </a:cubicBezTo>
                    <a:close/>
                    <a:moveTo>
                      <a:pt x="1261872" y="5761101"/>
                    </a:moveTo>
                    <a:lnTo>
                      <a:pt x="1084707" y="5761101"/>
                    </a:lnTo>
                    <a:cubicBezTo>
                      <a:pt x="1073753" y="5761101"/>
                      <a:pt x="1064990" y="5769959"/>
                      <a:pt x="1064990" y="5780818"/>
                    </a:cubicBezTo>
                    <a:cubicBezTo>
                      <a:pt x="1064990" y="5791772"/>
                      <a:pt x="1073849" y="5800535"/>
                      <a:pt x="1084707" y="5800535"/>
                    </a:cubicBezTo>
                    <a:lnTo>
                      <a:pt x="1261872" y="5800535"/>
                    </a:lnTo>
                    <a:cubicBezTo>
                      <a:pt x="1272826" y="5800535"/>
                      <a:pt x="1281589" y="5791677"/>
                      <a:pt x="1281589" y="5780818"/>
                    </a:cubicBezTo>
                    <a:cubicBezTo>
                      <a:pt x="1281589" y="5769959"/>
                      <a:pt x="1272731" y="5761101"/>
                      <a:pt x="1261872" y="5761101"/>
                    </a:cubicBezTo>
                    <a:close/>
                    <a:moveTo>
                      <a:pt x="907637" y="5761101"/>
                    </a:moveTo>
                    <a:lnTo>
                      <a:pt x="730472" y="5761101"/>
                    </a:lnTo>
                    <a:cubicBezTo>
                      <a:pt x="719519" y="5761101"/>
                      <a:pt x="710756" y="5769959"/>
                      <a:pt x="710756" y="5780818"/>
                    </a:cubicBezTo>
                    <a:cubicBezTo>
                      <a:pt x="710756" y="5791772"/>
                      <a:pt x="719614" y="5800535"/>
                      <a:pt x="730472" y="5800535"/>
                    </a:cubicBezTo>
                    <a:lnTo>
                      <a:pt x="907637" y="5800535"/>
                    </a:lnTo>
                    <a:cubicBezTo>
                      <a:pt x="918591" y="5800535"/>
                      <a:pt x="927354" y="5791677"/>
                      <a:pt x="927354" y="5780818"/>
                    </a:cubicBezTo>
                    <a:cubicBezTo>
                      <a:pt x="927354" y="5769959"/>
                      <a:pt x="918496" y="5761101"/>
                      <a:pt x="907637" y="5761101"/>
                    </a:cubicBezTo>
                    <a:close/>
                    <a:moveTo>
                      <a:pt x="441293" y="40767"/>
                    </a:moveTo>
                    <a:cubicBezTo>
                      <a:pt x="437960" y="30385"/>
                      <a:pt x="426911" y="24575"/>
                      <a:pt x="416433" y="27908"/>
                    </a:cubicBezTo>
                    <a:cubicBezTo>
                      <a:pt x="358140" y="46482"/>
                      <a:pt x="303181" y="73819"/>
                      <a:pt x="253079" y="109157"/>
                    </a:cubicBezTo>
                    <a:cubicBezTo>
                      <a:pt x="244126" y="115443"/>
                      <a:pt x="242030" y="127826"/>
                      <a:pt x="248317" y="136684"/>
                    </a:cubicBezTo>
                    <a:cubicBezTo>
                      <a:pt x="252127" y="142113"/>
                      <a:pt x="258318" y="145066"/>
                      <a:pt x="264509" y="145066"/>
                    </a:cubicBezTo>
                    <a:cubicBezTo>
                      <a:pt x="268415" y="145066"/>
                      <a:pt x="272415" y="143923"/>
                      <a:pt x="275939" y="141446"/>
                    </a:cubicBezTo>
                    <a:cubicBezTo>
                      <a:pt x="322707" y="108395"/>
                      <a:pt x="374047" y="82868"/>
                      <a:pt x="428435" y="65532"/>
                    </a:cubicBezTo>
                    <a:cubicBezTo>
                      <a:pt x="438912" y="62294"/>
                      <a:pt x="444627" y="51149"/>
                      <a:pt x="441293" y="40767"/>
                    </a:cubicBezTo>
                    <a:close/>
                    <a:moveTo>
                      <a:pt x="2678716" y="5761101"/>
                    </a:moveTo>
                    <a:lnTo>
                      <a:pt x="2501551" y="5761101"/>
                    </a:lnTo>
                    <a:cubicBezTo>
                      <a:pt x="2490597" y="5761101"/>
                      <a:pt x="2481834" y="5769959"/>
                      <a:pt x="2481834" y="5780818"/>
                    </a:cubicBezTo>
                    <a:cubicBezTo>
                      <a:pt x="2481834" y="5791772"/>
                      <a:pt x="2490692" y="5800535"/>
                      <a:pt x="2501551" y="5800535"/>
                    </a:cubicBezTo>
                    <a:lnTo>
                      <a:pt x="2678716" y="5800535"/>
                    </a:lnTo>
                    <a:cubicBezTo>
                      <a:pt x="2689670" y="5800535"/>
                      <a:pt x="2698433" y="5791677"/>
                      <a:pt x="2698433" y="5780818"/>
                    </a:cubicBezTo>
                    <a:cubicBezTo>
                      <a:pt x="2698528" y="5769959"/>
                      <a:pt x="2689670" y="5761101"/>
                      <a:pt x="2678716" y="5761101"/>
                    </a:cubicBezTo>
                    <a:close/>
                    <a:moveTo>
                      <a:pt x="793623" y="19717"/>
                    </a:moveTo>
                    <a:cubicBezTo>
                      <a:pt x="793623" y="8763"/>
                      <a:pt x="784765" y="0"/>
                      <a:pt x="773906" y="0"/>
                    </a:cubicBezTo>
                    <a:lnTo>
                      <a:pt x="596741" y="0"/>
                    </a:lnTo>
                    <a:cubicBezTo>
                      <a:pt x="585788" y="0"/>
                      <a:pt x="577025" y="8858"/>
                      <a:pt x="577025" y="19717"/>
                    </a:cubicBezTo>
                    <a:cubicBezTo>
                      <a:pt x="577025" y="30670"/>
                      <a:pt x="585883" y="39434"/>
                      <a:pt x="596741" y="39434"/>
                    </a:cubicBezTo>
                    <a:lnTo>
                      <a:pt x="773906" y="39434"/>
                    </a:lnTo>
                    <a:cubicBezTo>
                      <a:pt x="784765" y="39434"/>
                      <a:pt x="793623" y="30670"/>
                      <a:pt x="793623" y="19717"/>
                    </a:cubicBezTo>
                    <a:close/>
                    <a:moveTo>
                      <a:pt x="1502093" y="19717"/>
                    </a:moveTo>
                    <a:cubicBezTo>
                      <a:pt x="1502093" y="8763"/>
                      <a:pt x="1493234" y="0"/>
                      <a:pt x="1482376" y="0"/>
                    </a:cubicBezTo>
                    <a:lnTo>
                      <a:pt x="1305306" y="0"/>
                    </a:lnTo>
                    <a:cubicBezTo>
                      <a:pt x="1294352" y="0"/>
                      <a:pt x="1285589" y="8858"/>
                      <a:pt x="1285589" y="19717"/>
                    </a:cubicBezTo>
                    <a:cubicBezTo>
                      <a:pt x="1285589" y="30670"/>
                      <a:pt x="1294448" y="39434"/>
                      <a:pt x="1305306" y="39434"/>
                    </a:cubicBezTo>
                    <a:lnTo>
                      <a:pt x="1482376" y="39434"/>
                    </a:lnTo>
                    <a:cubicBezTo>
                      <a:pt x="1493234" y="39434"/>
                      <a:pt x="1502093" y="30670"/>
                      <a:pt x="1502093" y="19717"/>
                    </a:cubicBezTo>
                    <a:close/>
                    <a:moveTo>
                      <a:pt x="2324481" y="5761101"/>
                    </a:moveTo>
                    <a:lnTo>
                      <a:pt x="2147316" y="5761101"/>
                    </a:lnTo>
                    <a:cubicBezTo>
                      <a:pt x="2136362" y="5761101"/>
                      <a:pt x="2127599" y="5769959"/>
                      <a:pt x="2127599" y="5780818"/>
                    </a:cubicBezTo>
                    <a:cubicBezTo>
                      <a:pt x="2127599" y="5791772"/>
                      <a:pt x="2136458" y="5800535"/>
                      <a:pt x="2147316" y="5800535"/>
                    </a:cubicBezTo>
                    <a:lnTo>
                      <a:pt x="2324481" y="5800535"/>
                    </a:lnTo>
                    <a:cubicBezTo>
                      <a:pt x="2335435" y="5800535"/>
                      <a:pt x="2344198" y="5791677"/>
                      <a:pt x="2344198" y="5780818"/>
                    </a:cubicBezTo>
                    <a:cubicBezTo>
                      <a:pt x="2344293" y="5769959"/>
                      <a:pt x="2335435" y="5761101"/>
                      <a:pt x="2324481" y="5761101"/>
                    </a:cubicBezTo>
                    <a:close/>
                    <a:moveTo>
                      <a:pt x="2564797" y="19717"/>
                    </a:moveTo>
                    <a:cubicBezTo>
                      <a:pt x="2564797" y="8763"/>
                      <a:pt x="2555939" y="0"/>
                      <a:pt x="2545080" y="0"/>
                    </a:cubicBezTo>
                    <a:lnTo>
                      <a:pt x="2367915" y="0"/>
                    </a:lnTo>
                    <a:cubicBezTo>
                      <a:pt x="2356961" y="0"/>
                      <a:pt x="2348198" y="8858"/>
                      <a:pt x="2348198" y="19717"/>
                    </a:cubicBezTo>
                    <a:cubicBezTo>
                      <a:pt x="2348198" y="30670"/>
                      <a:pt x="2357057" y="39434"/>
                      <a:pt x="2367915" y="39434"/>
                    </a:cubicBezTo>
                    <a:lnTo>
                      <a:pt x="2545080" y="39434"/>
                    </a:lnTo>
                    <a:cubicBezTo>
                      <a:pt x="2555939" y="39434"/>
                      <a:pt x="2564797" y="30670"/>
                      <a:pt x="2564797" y="19717"/>
                    </a:cubicBezTo>
                    <a:close/>
                    <a:moveTo>
                      <a:pt x="129254" y="5506403"/>
                    </a:moveTo>
                    <a:cubicBezTo>
                      <a:pt x="123349" y="5497259"/>
                      <a:pt x="111062" y="5494687"/>
                      <a:pt x="101918" y="5500592"/>
                    </a:cubicBezTo>
                    <a:cubicBezTo>
                      <a:pt x="92774" y="5506498"/>
                      <a:pt x="90202" y="5518785"/>
                      <a:pt x="96107" y="5527930"/>
                    </a:cubicBezTo>
                    <a:cubicBezTo>
                      <a:pt x="129445" y="5579269"/>
                      <a:pt x="170307" y="5624989"/>
                      <a:pt x="217551" y="5664042"/>
                    </a:cubicBezTo>
                    <a:cubicBezTo>
                      <a:pt x="221266" y="5667090"/>
                      <a:pt x="225647" y="5668613"/>
                      <a:pt x="230124" y="5668613"/>
                    </a:cubicBezTo>
                    <a:cubicBezTo>
                      <a:pt x="235839" y="5668613"/>
                      <a:pt x="241459" y="5666137"/>
                      <a:pt x="245364" y="5661470"/>
                    </a:cubicBezTo>
                    <a:cubicBezTo>
                      <a:pt x="252317" y="5653088"/>
                      <a:pt x="251079" y="5640610"/>
                      <a:pt x="242697" y="5633657"/>
                    </a:cubicBezTo>
                    <a:cubicBezTo>
                      <a:pt x="198501" y="5597176"/>
                      <a:pt x="160401" y="5554409"/>
                      <a:pt x="129254" y="5506403"/>
                    </a:cubicBezTo>
                    <a:close/>
                    <a:moveTo>
                      <a:pt x="2210562" y="19717"/>
                    </a:moveTo>
                    <a:cubicBezTo>
                      <a:pt x="2210562" y="8763"/>
                      <a:pt x="2201704" y="0"/>
                      <a:pt x="2190845" y="0"/>
                    </a:cubicBezTo>
                    <a:lnTo>
                      <a:pt x="2013776" y="0"/>
                    </a:lnTo>
                    <a:cubicBezTo>
                      <a:pt x="2002822" y="0"/>
                      <a:pt x="1994059" y="8858"/>
                      <a:pt x="1994059" y="19717"/>
                    </a:cubicBezTo>
                    <a:cubicBezTo>
                      <a:pt x="1994059" y="30670"/>
                      <a:pt x="2002917" y="39434"/>
                      <a:pt x="2013776" y="39434"/>
                    </a:cubicBezTo>
                    <a:lnTo>
                      <a:pt x="2190845" y="39434"/>
                    </a:lnTo>
                    <a:cubicBezTo>
                      <a:pt x="2201704" y="39434"/>
                      <a:pt x="2210562" y="30670"/>
                      <a:pt x="2210562" y="19717"/>
                    </a:cubicBezTo>
                    <a:close/>
                    <a:moveTo>
                      <a:pt x="1970246" y="5761101"/>
                    </a:moveTo>
                    <a:lnTo>
                      <a:pt x="1793177" y="5761101"/>
                    </a:lnTo>
                    <a:cubicBezTo>
                      <a:pt x="1782223" y="5761101"/>
                      <a:pt x="1773460" y="5769959"/>
                      <a:pt x="1773460" y="5780818"/>
                    </a:cubicBezTo>
                    <a:cubicBezTo>
                      <a:pt x="1773460" y="5791772"/>
                      <a:pt x="1782318" y="5800535"/>
                      <a:pt x="1793177" y="5800535"/>
                    </a:cubicBezTo>
                    <a:lnTo>
                      <a:pt x="1970246" y="5800535"/>
                    </a:lnTo>
                    <a:cubicBezTo>
                      <a:pt x="1981200" y="5800535"/>
                      <a:pt x="1989963" y="5791677"/>
                      <a:pt x="1989963" y="5780818"/>
                    </a:cubicBezTo>
                    <a:cubicBezTo>
                      <a:pt x="1990058" y="5769959"/>
                      <a:pt x="1981200" y="5761101"/>
                      <a:pt x="1970246" y="5761101"/>
                    </a:cubicBezTo>
                    <a:close/>
                    <a:moveTo>
                      <a:pt x="1616012" y="5761101"/>
                    </a:moveTo>
                    <a:lnTo>
                      <a:pt x="1438942" y="5761101"/>
                    </a:lnTo>
                    <a:cubicBezTo>
                      <a:pt x="1427988" y="5761101"/>
                      <a:pt x="1419225" y="5769959"/>
                      <a:pt x="1419225" y="5780818"/>
                    </a:cubicBezTo>
                    <a:cubicBezTo>
                      <a:pt x="1419225" y="5791772"/>
                      <a:pt x="1428083" y="5800535"/>
                      <a:pt x="1438942" y="5800535"/>
                    </a:cubicBezTo>
                    <a:lnTo>
                      <a:pt x="1616012" y="5800535"/>
                    </a:lnTo>
                    <a:cubicBezTo>
                      <a:pt x="1626965" y="5800535"/>
                      <a:pt x="1635728" y="5791677"/>
                      <a:pt x="1635728" y="5780818"/>
                    </a:cubicBezTo>
                    <a:cubicBezTo>
                      <a:pt x="1635824" y="5769959"/>
                      <a:pt x="1626965" y="5761101"/>
                      <a:pt x="1616012" y="5761101"/>
                    </a:cubicBezTo>
                    <a:close/>
                    <a:moveTo>
                      <a:pt x="1856327" y="19717"/>
                    </a:moveTo>
                    <a:cubicBezTo>
                      <a:pt x="1856327" y="8763"/>
                      <a:pt x="1847469" y="0"/>
                      <a:pt x="1836611" y="0"/>
                    </a:cubicBezTo>
                    <a:lnTo>
                      <a:pt x="1659541" y="0"/>
                    </a:lnTo>
                    <a:cubicBezTo>
                      <a:pt x="1648587" y="0"/>
                      <a:pt x="1639824" y="8858"/>
                      <a:pt x="1639824" y="19717"/>
                    </a:cubicBezTo>
                    <a:cubicBezTo>
                      <a:pt x="1639824" y="30670"/>
                      <a:pt x="1648682" y="39434"/>
                      <a:pt x="1659541" y="39434"/>
                    </a:cubicBezTo>
                    <a:lnTo>
                      <a:pt x="1836611" y="39434"/>
                    </a:lnTo>
                    <a:cubicBezTo>
                      <a:pt x="1847469" y="39434"/>
                      <a:pt x="1856327" y="30670"/>
                      <a:pt x="1856327" y="19717"/>
                    </a:cubicBezTo>
                    <a:close/>
                    <a:moveTo>
                      <a:pt x="554927" y="5759482"/>
                    </a:moveTo>
                    <a:cubicBezTo>
                      <a:pt x="497776" y="5755101"/>
                      <a:pt x="441960" y="5742147"/>
                      <a:pt x="389096" y="5720715"/>
                    </a:cubicBezTo>
                    <a:cubicBezTo>
                      <a:pt x="379000" y="5716620"/>
                      <a:pt x="367475" y="5721572"/>
                      <a:pt x="363379" y="5731669"/>
                    </a:cubicBezTo>
                    <a:cubicBezTo>
                      <a:pt x="359283" y="5741765"/>
                      <a:pt x="364141" y="5753291"/>
                      <a:pt x="374333" y="5757386"/>
                    </a:cubicBezTo>
                    <a:cubicBezTo>
                      <a:pt x="431006" y="5780247"/>
                      <a:pt x="490728" y="5794248"/>
                      <a:pt x="551974" y="5798915"/>
                    </a:cubicBezTo>
                    <a:cubicBezTo>
                      <a:pt x="552450" y="5798915"/>
                      <a:pt x="553022" y="5799011"/>
                      <a:pt x="553498" y="5799011"/>
                    </a:cubicBezTo>
                    <a:cubicBezTo>
                      <a:pt x="563690" y="5799011"/>
                      <a:pt x="572357" y="5791105"/>
                      <a:pt x="573215" y="5780723"/>
                    </a:cubicBezTo>
                    <a:cubicBezTo>
                      <a:pt x="573977" y="5769769"/>
                      <a:pt x="565785" y="5760339"/>
                      <a:pt x="554927" y="5759482"/>
                    </a:cubicBezTo>
                    <a:close/>
                    <a:moveTo>
                      <a:pt x="19717" y="2189893"/>
                    </a:moveTo>
                    <a:cubicBezTo>
                      <a:pt x="30671" y="2189893"/>
                      <a:pt x="39434" y="2181035"/>
                      <a:pt x="39434" y="2170176"/>
                    </a:cubicBezTo>
                    <a:lnTo>
                      <a:pt x="39434" y="1993011"/>
                    </a:lnTo>
                    <a:cubicBezTo>
                      <a:pt x="39434" y="1982057"/>
                      <a:pt x="30575" y="1973294"/>
                      <a:pt x="19717" y="1973294"/>
                    </a:cubicBezTo>
                    <a:cubicBezTo>
                      <a:pt x="8763" y="1973294"/>
                      <a:pt x="0" y="1982153"/>
                      <a:pt x="0" y="1993011"/>
                    </a:cubicBezTo>
                    <a:lnTo>
                      <a:pt x="0" y="2170176"/>
                    </a:lnTo>
                    <a:cubicBezTo>
                      <a:pt x="0" y="2181035"/>
                      <a:pt x="8858" y="2189893"/>
                      <a:pt x="19717" y="2189893"/>
                    </a:cubicBezTo>
                    <a:close/>
                    <a:moveTo>
                      <a:pt x="19717" y="2544127"/>
                    </a:moveTo>
                    <a:cubicBezTo>
                      <a:pt x="30671" y="2544127"/>
                      <a:pt x="39434" y="2535269"/>
                      <a:pt x="39434" y="2524411"/>
                    </a:cubicBezTo>
                    <a:lnTo>
                      <a:pt x="39434" y="2347341"/>
                    </a:lnTo>
                    <a:cubicBezTo>
                      <a:pt x="39434" y="2336387"/>
                      <a:pt x="30575" y="2327624"/>
                      <a:pt x="19717" y="2327624"/>
                    </a:cubicBezTo>
                    <a:cubicBezTo>
                      <a:pt x="8763" y="2327624"/>
                      <a:pt x="0" y="2336483"/>
                      <a:pt x="0" y="2347341"/>
                    </a:cubicBezTo>
                    <a:lnTo>
                      <a:pt x="0" y="2524411"/>
                    </a:lnTo>
                    <a:cubicBezTo>
                      <a:pt x="0" y="2535269"/>
                      <a:pt x="8858" y="2544127"/>
                      <a:pt x="19717" y="2544127"/>
                    </a:cubicBezTo>
                    <a:close/>
                    <a:moveTo>
                      <a:pt x="19717" y="1835658"/>
                    </a:moveTo>
                    <a:cubicBezTo>
                      <a:pt x="30671" y="1835658"/>
                      <a:pt x="39434" y="1826800"/>
                      <a:pt x="39434" y="1815941"/>
                    </a:cubicBezTo>
                    <a:lnTo>
                      <a:pt x="39434" y="1638776"/>
                    </a:lnTo>
                    <a:cubicBezTo>
                      <a:pt x="39434" y="1627823"/>
                      <a:pt x="30575" y="1619060"/>
                      <a:pt x="19717" y="1619060"/>
                    </a:cubicBezTo>
                    <a:cubicBezTo>
                      <a:pt x="8763" y="1619060"/>
                      <a:pt x="0" y="1627918"/>
                      <a:pt x="0" y="1638776"/>
                    </a:cubicBezTo>
                    <a:lnTo>
                      <a:pt x="0" y="1815941"/>
                    </a:lnTo>
                    <a:cubicBezTo>
                      <a:pt x="0" y="1826800"/>
                      <a:pt x="8858" y="1835658"/>
                      <a:pt x="19717" y="1835658"/>
                    </a:cubicBezTo>
                    <a:close/>
                    <a:moveTo>
                      <a:pt x="19717" y="772954"/>
                    </a:moveTo>
                    <a:cubicBezTo>
                      <a:pt x="30671" y="772954"/>
                      <a:pt x="39434" y="764096"/>
                      <a:pt x="39434" y="753237"/>
                    </a:cubicBezTo>
                    <a:lnTo>
                      <a:pt x="39434" y="597789"/>
                    </a:lnTo>
                    <a:cubicBezTo>
                      <a:pt x="39434" y="590741"/>
                      <a:pt x="39529" y="583787"/>
                      <a:pt x="39815" y="576739"/>
                    </a:cubicBezTo>
                    <a:cubicBezTo>
                      <a:pt x="40195" y="565880"/>
                      <a:pt x="31718" y="556641"/>
                      <a:pt x="20765" y="556260"/>
                    </a:cubicBezTo>
                    <a:cubicBezTo>
                      <a:pt x="10001" y="555879"/>
                      <a:pt x="667" y="564356"/>
                      <a:pt x="286" y="575310"/>
                    </a:cubicBezTo>
                    <a:cubicBezTo>
                      <a:pt x="95" y="582835"/>
                      <a:pt x="0" y="590264"/>
                      <a:pt x="0" y="597789"/>
                    </a:cubicBezTo>
                    <a:lnTo>
                      <a:pt x="0" y="753142"/>
                    </a:lnTo>
                    <a:cubicBezTo>
                      <a:pt x="0" y="764096"/>
                      <a:pt x="8858" y="772954"/>
                      <a:pt x="19717" y="772954"/>
                    </a:cubicBezTo>
                    <a:close/>
                    <a:moveTo>
                      <a:pt x="19717" y="1481423"/>
                    </a:moveTo>
                    <a:cubicBezTo>
                      <a:pt x="30671" y="1481423"/>
                      <a:pt x="39434" y="1472565"/>
                      <a:pt x="39434" y="1461707"/>
                    </a:cubicBezTo>
                    <a:lnTo>
                      <a:pt x="39434" y="1284637"/>
                    </a:lnTo>
                    <a:cubicBezTo>
                      <a:pt x="39434" y="1273683"/>
                      <a:pt x="30575" y="1264920"/>
                      <a:pt x="19717" y="1264920"/>
                    </a:cubicBezTo>
                    <a:cubicBezTo>
                      <a:pt x="8763" y="1264920"/>
                      <a:pt x="0" y="1273778"/>
                      <a:pt x="0" y="1284637"/>
                    </a:cubicBezTo>
                    <a:lnTo>
                      <a:pt x="0" y="1461707"/>
                    </a:lnTo>
                    <a:cubicBezTo>
                      <a:pt x="0" y="1472565"/>
                      <a:pt x="8858" y="1481423"/>
                      <a:pt x="19717" y="1481423"/>
                    </a:cubicBezTo>
                    <a:close/>
                    <a:moveTo>
                      <a:pt x="19717" y="2898362"/>
                    </a:moveTo>
                    <a:cubicBezTo>
                      <a:pt x="30671" y="2898362"/>
                      <a:pt x="39434" y="2889504"/>
                      <a:pt x="39434" y="2878646"/>
                    </a:cubicBezTo>
                    <a:lnTo>
                      <a:pt x="39434" y="2701481"/>
                    </a:lnTo>
                    <a:cubicBezTo>
                      <a:pt x="39434" y="2690527"/>
                      <a:pt x="30575" y="2681764"/>
                      <a:pt x="19717" y="2681764"/>
                    </a:cubicBezTo>
                    <a:cubicBezTo>
                      <a:pt x="8763" y="2681764"/>
                      <a:pt x="0" y="2690622"/>
                      <a:pt x="0" y="2701481"/>
                    </a:cubicBezTo>
                    <a:lnTo>
                      <a:pt x="0" y="2878646"/>
                    </a:lnTo>
                    <a:cubicBezTo>
                      <a:pt x="0" y="2889504"/>
                      <a:pt x="8858" y="2898362"/>
                      <a:pt x="19717" y="2898362"/>
                    </a:cubicBezTo>
                    <a:close/>
                    <a:moveTo>
                      <a:pt x="19717" y="1127189"/>
                    </a:moveTo>
                    <a:cubicBezTo>
                      <a:pt x="30671" y="1127189"/>
                      <a:pt x="39434" y="1118330"/>
                      <a:pt x="39434" y="1107472"/>
                    </a:cubicBezTo>
                    <a:lnTo>
                      <a:pt x="39434" y="930307"/>
                    </a:lnTo>
                    <a:cubicBezTo>
                      <a:pt x="39434" y="919353"/>
                      <a:pt x="30575" y="910590"/>
                      <a:pt x="19717" y="910590"/>
                    </a:cubicBezTo>
                    <a:cubicBezTo>
                      <a:pt x="8763" y="910590"/>
                      <a:pt x="0" y="919448"/>
                      <a:pt x="0" y="930307"/>
                    </a:cubicBezTo>
                    <a:lnTo>
                      <a:pt x="0" y="1107472"/>
                    </a:lnTo>
                    <a:cubicBezTo>
                      <a:pt x="0" y="1118330"/>
                      <a:pt x="8858" y="1127189"/>
                      <a:pt x="19717" y="1127189"/>
                    </a:cubicBezTo>
                    <a:close/>
                    <a:moveTo>
                      <a:pt x="19717" y="3961067"/>
                    </a:moveTo>
                    <a:cubicBezTo>
                      <a:pt x="30671" y="3961067"/>
                      <a:pt x="39434" y="3952208"/>
                      <a:pt x="39434" y="3941350"/>
                    </a:cubicBezTo>
                    <a:lnTo>
                      <a:pt x="39434" y="3764185"/>
                    </a:lnTo>
                    <a:cubicBezTo>
                      <a:pt x="39434" y="3753231"/>
                      <a:pt x="30575" y="3744468"/>
                      <a:pt x="19717" y="3744468"/>
                    </a:cubicBezTo>
                    <a:cubicBezTo>
                      <a:pt x="8763" y="3744468"/>
                      <a:pt x="0" y="3753326"/>
                      <a:pt x="0" y="3764185"/>
                    </a:cubicBezTo>
                    <a:lnTo>
                      <a:pt x="0" y="3941350"/>
                    </a:lnTo>
                    <a:cubicBezTo>
                      <a:pt x="0" y="3952208"/>
                      <a:pt x="8858" y="3961067"/>
                      <a:pt x="19717" y="3961067"/>
                    </a:cubicBezTo>
                    <a:close/>
                    <a:moveTo>
                      <a:pt x="19717" y="5023771"/>
                    </a:moveTo>
                    <a:cubicBezTo>
                      <a:pt x="30671" y="5023771"/>
                      <a:pt x="39434" y="5014913"/>
                      <a:pt x="39434" y="5004055"/>
                    </a:cubicBezTo>
                    <a:lnTo>
                      <a:pt x="39434" y="4826889"/>
                    </a:lnTo>
                    <a:cubicBezTo>
                      <a:pt x="39434" y="4815935"/>
                      <a:pt x="30575" y="4807173"/>
                      <a:pt x="19717" y="4807173"/>
                    </a:cubicBezTo>
                    <a:cubicBezTo>
                      <a:pt x="8763" y="4807173"/>
                      <a:pt x="0" y="4816031"/>
                      <a:pt x="0" y="4826889"/>
                    </a:cubicBezTo>
                    <a:lnTo>
                      <a:pt x="0" y="5004055"/>
                    </a:lnTo>
                    <a:cubicBezTo>
                      <a:pt x="0" y="5014913"/>
                      <a:pt x="8858" y="5023771"/>
                      <a:pt x="19717" y="5023771"/>
                    </a:cubicBezTo>
                    <a:close/>
                    <a:moveTo>
                      <a:pt x="19717" y="4669536"/>
                    </a:moveTo>
                    <a:cubicBezTo>
                      <a:pt x="30671" y="4669536"/>
                      <a:pt x="39434" y="4660678"/>
                      <a:pt x="39434" y="4649819"/>
                    </a:cubicBezTo>
                    <a:lnTo>
                      <a:pt x="39434" y="4472654"/>
                    </a:lnTo>
                    <a:cubicBezTo>
                      <a:pt x="39434" y="4461701"/>
                      <a:pt x="30575" y="4452938"/>
                      <a:pt x="19717" y="4452938"/>
                    </a:cubicBezTo>
                    <a:cubicBezTo>
                      <a:pt x="8763" y="4452938"/>
                      <a:pt x="0" y="4461796"/>
                      <a:pt x="0" y="4472654"/>
                    </a:cubicBezTo>
                    <a:lnTo>
                      <a:pt x="0" y="4649819"/>
                    </a:lnTo>
                    <a:cubicBezTo>
                      <a:pt x="0" y="4660678"/>
                      <a:pt x="8858" y="4669536"/>
                      <a:pt x="19717" y="4669536"/>
                    </a:cubicBezTo>
                    <a:close/>
                    <a:moveTo>
                      <a:pt x="39529" y="5202746"/>
                    </a:moveTo>
                    <a:lnTo>
                      <a:pt x="39529" y="5181124"/>
                    </a:lnTo>
                    <a:cubicBezTo>
                      <a:pt x="39529" y="5170171"/>
                      <a:pt x="30671" y="5161407"/>
                      <a:pt x="19812" y="5161407"/>
                    </a:cubicBezTo>
                    <a:cubicBezTo>
                      <a:pt x="8858" y="5161407"/>
                      <a:pt x="95" y="5170265"/>
                      <a:pt x="95" y="5181124"/>
                    </a:cubicBezTo>
                    <a:lnTo>
                      <a:pt x="95" y="5202746"/>
                    </a:lnTo>
                    <a:cubicBezTo>
                      <a:pt x="95" y="5256657"/>
                      <a:pt x="7239" y="5310092"/>
                      <a:pt x="21431" y="5361527"/>
                    </a:cubicBezTo>
                    <a:cubicBezTo>
                      <a:pt x="23813" y="5370290"/>
                      <a:pt x="31814" y="5376101"/>
                      <a:pt x="40481" y="5376101"/>
                    </a:cubicBezTo>
                    <a:cubicBezTo>
                      <a:pt x="42196" y="5376101"/>
                      <a:pt x="44006" y="5375910"/>
                      <a:pt x="45720" y="5375339"/>
                    </a:cubicBezTo>
                    <a:cubicBezTo>
                      <a:pt x="56198" y="5372481"/>
                      <a:pt x="62389" y="5361527"/>
                      <a:pt x="59531" y="5351050"/>
                    </a:cubicBezTo>
                    <a:cubicBezTo>
                      <a:pt x="46196" y="5303044"/>
                      <a:pt x="39529" y="5253133"/>
                      <a:pt x="39529" y="5202746"/>
                    </a:cubicBezTo>
                    <a:close/>
                    <a:moveTo>
                      <a:pt x="149638" y="232124"/>
                    </a:moveTo>
                    <a:cubicBezTo>
                      <a:pt x="140970" y="225552"/>
                      <a:pt x="128588" y="227267"/>
                      <a:pt x="121920" y="235934"/>
                    </a:cubicBezTo>
                    <a:cubicBezTo>
                      <a:pt x="84773" y="284798"/>
                      <a:pt x="55436" y="338709"/>
                      <a:pt x="34862" y="396240"/>
                    </a:cubicBezTo>
                    <a:cubicBezTo>
                      <a:pt x="31147" y="406527"/>
                      <a:pt x="36481" y="417862"/>
                      <a:pt x="46768" y="421481"/>
                    </a:cubicBezTo>
                    <a:cubicBezTo>
                      <a:pt x="48959" y="422243"/>
                      <a:pt x="51245" y="422624"/>
                      <a:pt x="53435" y="422624"/>
                    </a:cubicBezTo>
                    <a:cubicBezTo>
                      <a:pt x="61532" y="422624"/>
                      <a:pt x="69152" y="417576"/>
                      <a:pt x="72009" y="409480"/>
                    </a:cubicBezTo>
                    <a:cubicBezTo>
                      <a:pt x="91250" y="355759"/>
                      <a:pt x="118586" y="305372"/>
                      <a:pt x="153353" y="259842"/>
                    </a:cubicBezTo>
                    <a:cubicBezTo>
                      <a:pt x="160020" y="251174"/>
                      <a:pt x="158306" y="238792"/>
                      <a:pt x="149638" y="232124"/>
                    </a:cubicBezTo>
                    <a:close/>
                    <a:moveTo>
                      <a:pt x="19717" y="4315301"/>
                    </a:moveTo>
                    <a:cubicBezTo>
                      <a:pt x="30671" y="4315301"/>
                      <a:pt x="39434" y="4306443"/>
                      <a:pt x="39434" y="4295585"/>
                    </a:cubicBezTo>
                    <a:lnTo>
                      <a:pt x="39434" y="4118515"/>
                    </a:lnTo>
                    <a:cubicBezTo>
                      <a:pt x="39434" y="4107561"/>
                      <a:pt x="30575" y="4098798"/>
                      <a:pt x="19717" y="4098798"/>
                    </a:cubicBezTo>
                    <a:cubicBezTo>
                      <a:pt x="8763" y="4098798"/>
                      <a:pt x="0" y="4107656"/>
                      <a:pt x="0" y="4118515"/>
                    </a:cubicBezTo>
                    <a:lnTo>
                      <a:pt x="0" y="4295585"/>
                    </a:lnTo>
                    <a:cubicBezTo>
                      <a:pt x="0" y="4306443"/>
                      <a:pt x="8858" y="4315301"/>
                      <a:pt x="19717" y="4315301"/>
                    </a:cubicBezTo>
                    <a:close/>
                    <a:moveTo>
                      <a:pt x="19717" y="3606832"/>
                    </a:moveTo>
                    <a:cubicBezTo>
                      <a:pt x="30671" y="3606832"/>
                      <a:pt x="39434" y="3597974"/>
                      <a:pt x="39434" y="3587020"/>
                    </a:cubicBezTo>
                    <a:lnTo>
                      <a:pt x="39434" y="3409855"/>
                    </a:lnTo>
                    <a:cubicBezTo>
                      <a:pt x="39434" y="3398901"/>
                      <a:pt x="30575" y="3390138"/>
                      <a:pt x="19717" y="3390138"/>
                    </a:cubicBezTo>
                    <a:cubicBezTo>
                      <a:pt x="8763" y="3390138"/>
                      <a:pt x="0" y="3398996"/>
                      <a:pt x="0" y="3409855"/>
                    </a:cubicBezTo>
                    <a:lnTo>
                      <a:pt x="0" y="3587020"/>
                    </a:lnTo>
                    <a:cubicBezTo>
                      <a:pt x="0" y="3597974"/>
                      <a:pt x="8858" y="3606832"/>
                      <a:pt x="19717" y="3606832"/>
                    </a:cubicBezTo>
                    <a:close/>
                    <a:moveTo>
                      <a:pt x="19717" y="3252597"/>
                    </a:moveTo>
                    <a:cubicBezTo>
                      <a:pt x="30671" y="3252597"/>
                      <a:pt x="39434" y="3243739"/>
                      <a:pt x="39434" y="3232881"/>
                    </a:cubicBezTo>
                    <a:lnTo>
                      <a:pt x="39434" y="3055715"/>
                    </a:lnTo>
                    <a:cubicBezTo>
                      <a:pt x="39434" y="3044762"/>
                      <a:pt x="30575" y="3035999"/>
                      <a:pt x="19717" y="3035999"/>
                    </a:cubicBezTo>
                    <a:cubicBezTo>
                      <a:pt x="8763" y="3035999"/>
                      <a:pt x="0" y="3044857"/>
                      <a:pt x="0" y="3055715"/>
                    </a:cubicBezTo>
                    <a:lnTo>
                      <a:pt x="0" y="3232881"/>
                    </a:lnTo>
                    <a:cubicBezTo>
                      <a:pt x="0" y="3243739"/>
                      <a:pt x="8858" y="3252597"/>
                      <a:pt x="19717" y="3252597"/>
                    </a:cubicBezTo>
                    <a:close/>
                    <a:moveTo>
                      <a:pt x="5382292" y="3609594"/>
                    </a:moveTo>
                    <a:cubicBezTo>
                      <a:pt x="5371338" y="3609594"/>
                      <a:pt x="5362575" y="3618452"/>
                      <a:pt x="5362575" y="3629311"/>
                    </a:cubicBezTo>
                    <a:lnTo>
                      <a:pt x="5362575" y="3806381"/>
                    </a:lnTo>
                    <a:cubicBezTo>
                      <a:pt x="5362575" y="3817334"/>
                      <a:pt x="5371433" y="3826098"/>
                      <a:pt x="5382292" y="3826098"/>
                    </a:cubicBezTo>
                    <a:cubicBezTo>
                      <a:pt x="5393245" y="3826098"/>
                      <a:pt x="5402009" y="3817239"/>
                      <a:pt x="5402009" y="3806381"/>
                    </a:cubicBezTo>
                    <a:lnTo>
                      <a:pt x="5402009" y="3629311"/>
                    </a:lnTo>
                    <a:cubicBezTo>
                      <a:pt x="5402009" y="3618452"/>
                      <a:pt x="5393151" y="3609594"/>
                      <a:pt x="5382292" y="3609594"/>
                    </a:cubicBezTo>
                    <a:close/>
                    <a:moveTo>
                      <a:pt x="2919032" y="19717"/>
                    </a:moveTo>
                    <a:cubicBezTo>
                      <a:pt x="2919032" y="8763"/>
                      <a:pt x="2910173" y="0"/>
                      <a:pt x="2899315" y="0"/>
                    </a:cubicBezTo>
                    <a:lnTo>
                      <a:pt x="2722245" y="0"/>
                    </a:lnTo>
                    <a:cubicBezTo>
                      <a:pt x="2711291" y="0"/>
                      <a:pt x="2702528" y="8858"/>
                      <a:pt x="2702528" y="19717"/>
                    </a:cubicBezTo>
                    <a:cubicBezTo>
                      <a:pt x="2702528" y="30670"/>
                      <a:pt x="2711387" y="39434"/>
                      <a:pt x="2722245" y="39434"/>
                    </a:cubicBezTo>
                    <a:lnTo>
                      <a:pt x="2899315" y="39434"/>
                    </a:lnTo>
                    <a:cubicBezTo>
                      <a:pt x="2910173" y="39434"/>
                      <a:pt x="2919032" y="30670"/>
                      <a:pt x="2919032" y="19717"/>
                    </a:cubicBezTo>
                    <a:close/>
                    <a:moveTo>
                      <a:pt x="5382292" y="3963829"/>
                    </a:moveTo>
                    <a:cubicBezTo>
                      <a:pt x="5371338" y="3963829"/>
                      <a:pt x="5362575" y="3972687"/>
                      <a:pt x="5362575" y="3983546"/>
                    </a:cubicBezTo>
                    <a:lnTo>
                      <a:pt x="5362575" y="4160711"/>
                    </a:lnTo>
                    <a:cubicBezTo>
                      <a:pt x="5362575" y="4171664"/>
                      <a:pt x="5371433" y="4180427"/>
                      <a:pt x="5382292" y="4180427"/>
                    </a:cubicBezTo>
                    <a:cubicBezTo>
                      <a:pt x="5393245" y="4180427"/>
                      <a:pt x="5402009" y="4171569"/>
                      <a:pt x="5402009" y="4160711"/>
                    </a:cubicBezTo>
                    <a:lnTo>
                      <a:pt x="5402009" y="3983546"/>
                    </a:lnTo>
                    <a:cubicBezTo>
                      <a:pt x="5402009" y="3972687"/>
                      <a:pt x="5393151" y="3963829"/>
                      <a:pt x="5382292" y="3963829"/>
                    </a:cubicBezTo>
                    <a:close/>
                    <a:moveTo>
                      <a:pt x="5382292" y="4318064"/>
                    </a:moveTo>
                    <a:cubicBezTo>
                      <a:pt x="5371338" y="4318064"/>
                      <a:pt x="5362575" y="4326922"/>
                      <a:pt x="5362575" y="4337781"/>
                    </a:cubicBezTo>
                    <a:lnTo>
                      <a:pt x="5362575" y="4514945"/>
                    </a:lnTo>
                    <a:cubicBezTo>
                      <a:pt x="5362575" y="4525899"/>
                      <a:pt x="5371433" y="4534662"/>
                      <a:pt x="5382292" y="4534662"/>
                    </a:cubicBezTo>
                    <a:cubicBezTo>
                      <a:pt x="5393245" y="4534662"/>
                      <a:pt x="5402009" y="4525804"/>
                      <a:pt x="5402009" y="4514945"/>
                    </a:cubicBezTo>
                    <a:lnTo>
                      <a:pt x="5402009" y="4337781"/>
                    </a:lnTo>
                    <a:cubicBezTo>
                      <a:pt x="5402009" y="4326922"/>
                      <a:pt x="5393151" y="4318064"/>
                      <a:pt x="5382292" y="4318064"/>
                    </a:cubicBezTo>
                    <a:close/>
                    <a:moveTo>
                      <a:pt x="5382292" y="5026533"/>
                    </a:moveTo>
                    <a:cubicBezTo>
                      <a:pt x="5371338" y="5026533"/>
                      <a:pt x="5362575" y="5035392"/>
                      <a:pt x="5362575" y="5046250"/>
                    </a:cubicBezTo>
                    <a:lnTo>
                      <a:pt x="5362575" y="5202746"/>
                    </a:lnTo>
                    <a:cubicBezTo>
                      <a:pt x="5362575" y="5209413"/>
                      <a:pt x="5362480" y="5216081"/>
                      <a:pt x="5362194" y="5222748"/>
                    </a:cubicBezTo>
                    <a:cubicBezTo>
                      <a:pt x="5361813" y="5233607"/>
                      <a:pt x="5370290" y="5242846"/>
                      <a:pt x="5381244" y="5243227"/>
                    </a:cubicBezTo>
                    <a:cubicBezTo>
                      <a:pt x="5381435" y="5243227"/>
                      <a:pt x="5381721" y="5243227"/>
                      <a:pt x="5381911" y="5243227"/>
                    </a:cubicBezTo>
                    <a:cubicBezTo>
                      <a:pt x="5392484" y="5243227"/>
                      <a:pt x="5401247" y="5234845"/>
                      <a:pt x="5401628" y="5224177"/>
                    </a:cubicBezTo>
                    <a:cubicBezTo>
                      <a:pt x="5401914" y="5217129"/>
                      <a:pt x="5402009" y="5209985"/>
                      <a:pt x="5402009" y="5202841"/>
                    </a:cubicBezTo>
                    <a:lnTo>
                      <a:pt x="5402009" y="5046346"/>
                    </a:lnTo>
                    <a:cubicBezTo>
                      <a:pt x="5402009" y="5035392"/>
                      <a:pt x="5393151" y="5026533"/>
                      <a:pt x="5382292" y="5026533"/>
                    </a:cubicBezTo>
                    <a:close/>
                    <a:moveTo>
                      <a:pt x="5382292" y="4672299"/>
                    </a:moveTo>
                    <a:cubicBezTo>
                      <a:pt x="5371338" y="4672299"/>
                      <a:pt x="5362575" y="4681157"/>
                      <a:pt x="5362575" y="4692015"/>
                    </a:cubicBezTo>
                    <a:lnTo>
                      <a:pt x="5362575" y="4869085"/>
                    </a:lnTo>
                    <a:cubicBezTo>
                      <a:pt x="5362575" y="4880039"/>
                      <a:pt x="5371433" y="4888802"/>
                      <a:pt x="5382292" y="4888802"/>
                    </a:cubicBezTo>
                    <a:cubicBezTo>
                      <a:pt x="5393245" y="4888802"/>
                      <a:pt x="5402009" y="4879943"/>
                      <a:pt x="5402009" y="4869085"/>
                    </a:cubicBezTo>
                    <a:lnTo>
                      <a:pt x="5402009" y="4692015"/>
                    </a:lnTo>
                    <a:cubicBezTo>
                      <a:pt x="5402009" y="4681157"/>
                      <a:pt x="5393151" y="4672299"/>
                      <a:pt x="5382292" y="4672299"/>
                    </a:cubicBezTo>
                    <a:close/>
                    <a:moveTo>
                      <a:pt x="5382292" y="2901125"/>
                    </a:moveTo>
                    <a:cubicBezTo>
                      <a:pt x="5371338" y="2901125"/>
                      <a:pt x="5362575" y="2909983"/>
                      <a:pt x="5362575" y="2920841"/>
                    </a:cubicBezTo>
                    <a:lnTo>
                      <a:pt x="5362575" y="3097911"/>
                    </a:lnTo>
                    <a:cubicBezTo>
                      <a:pt x="5362575" y="3108865"/>
                      <a:pt x="5371433" y="3117628"/>
                      <a:pt x="5382292" y="3117628"/>
                    </a:cubicBezTo>
                    <a:cubicBezTo>
                      <a:pt x="5393245" y="3117628"/>
                      <a:pt x="5402009" y="3108769"/>
                      <a:pt x="5402009" y="3097911"/>
                    </a:cubicBezTo>
                    <a:lnTo>
                      <a:pt x="5402009" y="2920841"/>
                    </a:lnTo>
                    <a:cubicBezTo>
                      <a:pt x="5402009" y="2909983"/>
                      <a:pt x="5393151" y="2901125"/>
                      <a:pt x="5382292" y="2901125"/>
                    </a:cubicBezTo>
                    <a:close/>
                    <a:moveTo>
                      <a:pt x="5382292" y="2546890"/>
                    </a:moveTo>
                    <a:cubicBezTo>
                      <a:pt x="5371338" y="2546890"/>
                      <a:pt x="5362575" y="2555748"/>
                      <a:pt x="5362575" y="2566607"/>
                    </a:cubicBezTo>
                    <a:lnTo>
                      <a:pt x="5362575" y="2743772"/>
                    </a:lnTo>
                    <a:cubicBezTo>
                      <a:pt x="5362575" y="2754725"/>
                      <a:pt x="5371433" y="2763488"/>
                      <a:pt x="5382292" y="2763488"/>
                    </a:cubicBezTo>
                    <a:cubicBezTo>
                      <a:pt x="5393245" y="2763488"/>
                      <a:pt x="5402009" y="2754630"/>
                      <a:pt x="5402009" y="2743772"/>
                    </a:cubicBezTo>
                    <a:lnTo>
                      <a:pt x="5402009" y="2566607"/>
                    </a:lnTo>
                    <a:cubicBezTo>
                      <a:pt x="5402009" y="2555748"/>
                      <a:pt x="5393151" y="2546890"/>
                      <a:pt x="5382292" y="2546890"/>
                    </a:cubicBezTo>
                    <a:close/>
                    <a:moveTo>
                      <a:pt x="5382292" y="1129951"/>
                    </a:moveTo>
                    <a:cubicBezTo>
                      <a:pt x="5371338" y="1129951"/>
                      <a:pt x="5362575" y="1138809"/>
                      <a:pt x="5362575" y="1149668"/>
                    </a:cubicBezTo>
                    <a:lnTo>
                      <a:pt x="5362575" y="1326833"/>
                    </a:lnTo>
                    <a:cubicBezTo>
                      <a:pt x="5362575" y="1337786"/>
                      <a:pt x="5371433" y="1346549"/>
                      <a:pt x="5382292" y="1346549"/>
                    </a:cubicBezTo>
                    <a:cubicBezTo>
                      <a:pt x="5393245" y="1346549"/>
                      <a:pt x="5402009" y="1337691"/>
                      <a:pt x="5402009" y="1326833"/>
                    </a:cubicBezTo>
                    <a:lnTo>
                      <a:pt x="5402009" y="1149668"/>
                    </a:lnTo>
                    <a:cubicBezTo>
                      <a:pt x="5402009" y="1138809"/>
                      <a:pt x="5393151" y="1129951"/>
                      <a:pt x="5382292" y="1129951"/>
                    </a:cubicBezTo>
                    <a:close/>
                    <a:moveTo>
                      <a:pt x="5382292" y="775716"/>
                    </a:moveTo>
                    <a:cubicBezTo>
                      <a:pt x="5371338" y="775716"/>
                      <a:pt x="5362575" y="784574"/>
                      <a:pt x="5362575" y="795433"/>
                    </a:cubicBezTo>
                    <a:lnTo>
                      <a:pt x="5362575" y="972503"/>
                    </a:lnTo>
                    <a:cubicBezTo>
                      <a:pt x="5362575" y="983456"/>
                      <a:pt x="5371433" y="992219"/>
                      <a:pt x="5382292" y="992219"/>
                    </a:cubicBezTo>
                    <a:cubicBezTo>
                      <a:pt x="5393245" y="992219"/>
                      <a:pt x="5402009" y="983361"/>
                      <a:pt x="5402009" y="972503"/>
                    </a:cubicBezTo>
                    <a:lnTo>
                      <a:pt x="5402009" y="795528"/>
                    </a:lnTo>
                    <a:cubicBezTo>
                      <a:pt x="5402009" y="784574"/>
                      <a:pt x="5393151" y="775716"/>
                      <a:pt x="5382292" y="775716"/>
                    </a:cubicBezTo>
                    <a:close/>
                    <a:moveTo>
                      <a:pt x="5380387" y="437960"/>
                    </a:moveTo>
                    <a:cubicBezTo>
                      <a:pt x="5377434" y="427482"/>
                      <a:pt x="5366576" y="421291"/>
                      <a:pt x="5356098" y="424148"/>
                    </a:cubicBezTo>
                    <a:cubicBezTo>
                      <a:pt x="5345620" y="427101"/>
                      <a:pt x="5339430" y="437960"/>
                      <a:pt x="5342287" y="448437"/>
                    </a:cubicBezTo>
                    <a:cubicBezTo>
                      <a:pt x="5355718" y="496824"/>
                      <a:pt x="5362480" y="547116"/>
                      <a:pt x="5362480" y="597789"/>
                    </a:cubicBezTo>
                    <a:lnTo>
                      <a:pt x="5362480" y="618363"/>
                    </a:lnTo>
                    <a:cubicBezTo>
                      <a:pt x="5362480" y="629317"/>
                      <a:pt x="5371338" y="638080"/>
                      <a:pt x="5382197" y="638080"/>
                    </a:cubicBezTo>
                    <a:cubicBezTo>
                      <a:pt x="5393151" y="638080"/>
                      <a:pt x="5401914" y="629222"/>
                      <a:pt x="5401914" y="618363"/>
                    </a:cubicBezTo>
                    <a:lnTo>
                      <a:pt x="5401914" y="597789"/>
                    </a:lnTo>
                    <a:cubicBezTo>
                      <a:pt x="5402009" y="543497"/>
                      <a:pt x="5394770" y="489776"/>
                      <a:pt x="5380387" y="437960"/>
                    </a:cubicBezTo>
                    <a:close/>
                    <a:moveTo>
                      <a:pt x="5382292" y="2192655"/>
                    </a:moveTo>
                    <a:cubicBezTo>
                      <a:pt x="5371338" y="2192655"/>
                      <a:pt x="5362575" y="2201513"/>
                      <a:pt x="5362575" y="2212372"/>
                    </a:cubicBezTo>
                    <a:lnTo>
                      <a:pt x="5362575" y="2389537"/>
                    </a:lnTo>
                    <a:cubicBezTo>
                      <a:pt x="5362575" y="2400491"/>
                      <a:pt x="5371433" y="2409254"/>
                      <a:pt x="5382292" y="2409254"/>
                    </a:cubicBezTo>
                    <a:cubicBezTo>
                      <a:pt x="5393245" y="2409254"/>
                      <a:pt x="5402009" y="2400395"/>
                      <a:pt x="5402009" y="2389537"/>
                    </a:cubicBezTo>
                    <a:lnTo>
                      <a:pt x="5402009" y="2212372"/>
                    </a:lnTo>
                    <a:cubicBezTo>
                      <a:pt x="5402009" y="2201513"/>
                      <a:pt x="5393151" y="2192655"/>
                      <a:pt x="5382292" y="2192655"/>
                    </a:cubicBezTo>
                    <a:close/>
                    <a:moveTo>
                      <a:pt x="5355622" y="5378101"/>
                    </a:moveTo>
                    <a:cubicBezTo>
                      <a:pt x="5345335" y="5374386"/>
                      <a:pt x="5334000" y="5379815"/>
                      <a:pt x="5330381" y="5390102"/>
                    </a:cubicBezTo>
                    <a:cubicBezTo>
                      <a:pt x="5311235" y="5443919"/>
                      <a:pt x="5283994" y="5494306"/>
                      <a:pt x="5249323" y="5539931"/>
                    </a:cubicBezTo>
                    <a:cubicBezTo>
                      <a:pt x="5242751" y="5548599"/>
                      <a:pt x="5244465" y="5560981"/>
                      <a:pt x="5253133" y="5567649"/>
                    </a:cubicBezTo>
                    <a:cubicBezTo>
                      <a:pt x="5256753" y="5570315"/>
                      <a:pt x="5260944" y="5571649"/>
                      <a:pt x="5265039" y="5571649"/>
                    </a:cubicBezTo>
                    <a:cubicBezTo>
                      <a:pt x="5271040" y="5571649"/>
                      <a:pt x="5276946" y="5568982"/>
                      <a:pt x="5280755" y="5563838"/>
                    </a:cubicBezTo>
                    <a:cubicBezTo>
                      <a:pt x="5317808" y="5514975"/>
                      <a:pt x="5347049" y="5460968"/>
                      <a:pt x="5367528" y="5403342"/>
                    </a:cubicBezTo>
                    <a:cubicBezTo>
                      <a:pt x="5371243" y="5393055"/>
                      <a:pt x="5365909" y="5381720"/>
                      <a:pt x="5355622" y="5378101"/>
                    </a:cubicBezTo>
                    <a:close/>
                    <a:moveTo>
                      <a:pt x="5382292" y="1838420"/>
                    </a:moveTo>
                    <a:cubicBezTo>
                      <a:pt x="5371338" y="1838420"/>
                      <a:pt x="5362575" y="1847279"/>
                      <a:pt x="5362575" y="1858137"/>
                    </a:cubicBezTo>
                    <a:lnTo>
                      <a:pt x="5362575" y="2035207"/>
                    </a:lnTo>
                    <a:cubicBezTo>
                      <a:pt x="5362575" y="2046161"/>
                      <a:pt x="5371433" y="2054924"/>
                      <a:pt x="5382292" y="2054924"/>
                    </a:cubicBezTo>
                    <a:cubicBezTo>
                      <a:pt x="5393245" y="2054924"/>
                      <a:pt x="5402009" y="2046065"/>
                      <a:pt x="5402009" y="2035207"/>
                    </a:cubicBezTo>
                    <a:lnTo>
                      <a:pt x="5402009" y="1858137"/>
                    </a:lnTo>
                    <a:cubicBezTo>
                      <a:pt x="5402009" y="1847279"/>
                      <a:pt x="5393151" y="1838420"/>
                      <a:pt x="5382292" y="1838420"/>
                    </a:cubicBezTo>
                    <a:close/>
                    <a:moveTo>
                      <a:pt x="5382292" y="1484186"/>
                    </a:moveTo>
                    <a:cubicBezTo>
                      <a:pt x="5371338" y="1484186"/>
                      <a:pt x="5362575" y="1493044"/>
                      <a:pt x="5362575" y="1503902"/>
                    </a:cubicBezTo>
                    <a:lnTo>
                      <a:pt x="5362575" y="1681067"/>
                    </a:lnTo>
                    <a:cubicBezTo>
                      <a:pt x="5362575" y="1692021"/>
                      <a:pt x="5371433" y="1700784"/>
                      <a:pt x="5382292" y="1700784"/>
                    </a:cubicBezTo>
                    <a:cubicBezTo>
                      <a:pt x="5393245" y="1700784"/>
                      <a:pt x="5402009" y="1691926"/>
                      <a:pt x="5402009" y="1681067"/>
                    </a:cubicBezTo>
                    <a:lnTo>
                      <a:pt x="5402009" y="1503902"/>
                    </a:lnTo>
                    <a:cubicBezTo>
                      <a:pt x="5402009" y="1493044"/>
                      <a:pt x="5393151" y="1484186"/>
                      <a:pt x="5382292" y="1484186"/>
                    </a:cubicBezTo>
                    <a:close/>
                    <a:moveTo>
                      <a:pt x="5382292" y="3255359"/>
                    </a:moveTo>
                    <a:cubicBezTo>
                      <a:pt x="5371338" y="3255359"/>
                      <a:pt x="5362575" y="3264218"/>
                      <a:pt x="5362575" y="3275076"/>
                    </a:cubicBezTo>
                    <a:lnTo>
                      <a:pt x="5362575" y="3452241"/>
                    </a:lnTo>
                    <a:cubicBezTo>
                      <a:pt x="5362575" y="3463195"/>
                      <a:pt x="5371433" y="3471958"/>
                      <a:pt x="5382292" y="3471958"/>
                    </a:cubicBezTo>
                    <a:cubicBezTo>
                      <a:pt x="5393245" y="3471958"/>
                      <a:pt x="5402009" y="3463100"/>
                      <a:pt x="5402009" y="3452241"/>
                    </a:cubicBezTo>
                    <a:lnTo>
                      <a:pt x="5402009" y="3275076"/>
                    </a:lnTo>
                    <a:cubicBezTo>
                      <a:pt x="5402009" y="3264218"/>
                      <a:pt x="5393151" y="3255359"/>
                      <a:pt x="5382292" y="3255359"/>
                    </a:cubicBezTo>
                    <a:close/>
                    <a:moveTo>
                      <a:pt x="5288756" y="302228"/>
                    </a:moveTo>
                    <a:cubicBezTo>
                      <a:pt x="5292471" y="302228"/>
                      <a:pt x="5296186" y="301181"/>
                      <a:pt x="5299520" y="298990"/>
                    </a:cubicBezTo>
                    <a:cubicBezTo>
                      <a:pt x="5308664" y="292989"/>
                      <a:pt x="5311235" y="280797"/>
                      <a:pt x="5305235" y="271653"/>
                    </a:cubicBezTo>
                    <a:cubicBezTo>
                      <a:pt x="5271802" y="220409"/>
                      <a:pt x="5230844" y="174689"/>
                      <a:pt x="5183505" y="135827"/>
                    </a:cubicBezTo>
                    <a:cubicBezTo>
                      <a:pt x="5175123" y="128873"/>
                      <a:pt x="5162646" y="130111"/>
                      <a:pt x="5155693" y="138589"/>
                    </a:cubicBezTo>
                    <a:cubicBezTo>
                      <a:pt x="5148739" y="146971"/>
                      <a:pt x="5149977" y="159449"/>
                      <a:pt x="5158455" y="166402"/>
                    </a:cubicBezTo>
                    <a:cubicBezTo>
                      <a:pt x="5202651" y="202787"/>
                      <a:pt x="5240941" y="245459"/>
                      <a:pt x="5272088" y="293370"/>
                    </a:cubicBezTo>
                    <a:cubicBezTo>
                      <a:pt x="5275993" y="299085"/>
                      <a:pt x="5282280" y="302228"/>
                      <a:pt x="5288756" y="302228"/>
                    </a:cubicBezTo>
                    <a:close/>
                    <a:moveTo>
                      <a:pt x="3627501" y="19717"/>
                    </a:moveTo>
                    <a:cubicBezTo>
                      <a:pt x="3627501" y="8763"/>
                      <a:pt x="3618643" y="0"/>
                      <a:pt x="3607784" y="0"/>
                    </a:cubicBezTo>
                    <a:lnTo>
                      <a:pt x="3430715" y="0"/>
                    </a:lnTo>
                    <a:cubicBezTo>
                      <a:pt x="3419761" y="0"/>
                      <a:pt x="3410998" y="8858"/>
                      <a:pt x="3410998" y="19717"/>
                    </a:cubicBezTo>
                    <a:cubicBezTo>
                      <a:pt x="3410998" y="30670"/>
                      <a:pt x="3419856" y="39434"/>
                      <a:pt x="3430715" y="39434"/>
                    </a:cubicBezTo>
                    <a:lnTo>
                      <a:pt x="3607784" y="39434"/>
                    </a:lnTo>
                    <a:cubicBezTo>
                      <a:pt x="3618643" y="39434"/>
                      <a:pt x="3627501" y="30670"/>
                      <a:pt x="3627501" y="19717"/>
                    </a:cubicBezTo>
                    <a:close/>
                    <a:moveTo>
                      <a:pt x="3981736" y="19717"/>
                    </a:moveTo>
                    <a:cubicBezTo>
                      <a:pt x="3981736" y="8763"/>
                      <a:pt x="3972878" y="0"/>
                      <a:pt x="3962019" y="0"/>
                    </a:cubicBezTo>
                    <a:lnTo>
                      <a:pt x="3784854" y="0"/>
                    </a:lnTo>
                    <a:cubicBezTo>
                      <a:pt x="3773900" y="0"/>
                      <a:pt x="3765137" y="8858"/>
                      <a:pt x="3765137" y="19717"/>
                    </a:cubicBezTo>
                    <a:cubicBezTo>
                      <a:pt x="3765137" y="30670"/>
                      <a:pt x="3773996" y="39434"/>
                      <a:pt x="3784854" y="39434"/>
                    </a:cubicBezTo>
                    <a:lnTo>
                      <a:pt x="3962019" y="39434"/>
                    </a:lnTo>
                    <a:cubicBezTo>
                      <a:pt x="3972878" y="39434"/>
                      <a:pt x="3981736" y="30670"/>
                      <a:pt x="3981736" y="19717"/>
                    </a:cubicBezTo>
                    <a:close/>
                    <a:moveTo>
                      <a:pt x="3741420" y="5761101"/>
                    </a:moveTo>
                    <a:lnTo>
                      <a:pt x="3564255" y="5761101"/>
                    </a:lnTo>
                    <a:cubicBezTo>
                      <a:pt x="3553301" y="5761101"/>
                      <a:pt x="3544538" y="5769959"/>
                      <a:pt x="3544538" y="5780818"/>
                    </a:cubicBezTo>
                    <a:cubicBezTo>
                      <a:pt x="3544538" y="5791772"/>
                      <a:pt x="3553397" y="5800535"/>
                      <a:pt x="3564255" y="5800535"/>
                    </a:cubicBezTo>
                    <a:lnTo>
                      <a:pt x="3741420" y="5800535"/>
                    </a:lnTo>
                    <a:cubicBezTo>
                      <a:pt x="3752374" y="5800535"/>
                      <a:pt x="3761137" y="5791677"/>
                      <a:pt x="3761137" y="5780818"/>
                    </a:cubicBezTo>
                    <a:cubicBezTo>
                      <a:pt x="3761232" y="5769959"/>
                      <a:pt x="3752374" y="5761101"/>
                      <a:pt x="3741420" y="5761101"/>
                    </a:cubicBezTo>
                    <a:close/>
                    <a:moveTo>
                      <a:pt x="3032951" y="5761101"/>
                    </a:moveTo>
                    <a:lnTo>
                      <a:pt x="2855881" y="5761101"/>
                    </a:lnTo>
                    <a:cubicBezTo>
                      <a:pt x="2844927" y="5761101"/>
                      <a:pt x="2836164" y="5769959"/>
                      <a:pt x="2836164" y="5780818"/>
                    </a:cubicBezTo>
                    <a:cubicBezTo>
                      <a:pt x="2836164" y="5791772"/>
                      <a:pt x="2845022" y="5800535"/>
                      <a:pt x="2855881" y="5800535"/>
                    </a:cubicBezTo>
                    <a:lnTo>
                      <a:pt x="3032951" y="5800535"/>
                    </a:lnTo>
                    <a:cubicBezTo>
                      <a:pt x="3043904" y="5800535"/>
                      <a:pt x="3052667" y="5791677"/>
                      <a:pt x="3052667" y="5780818"/>
                    </a:cubicBezTo>
                    <a:cubicBezTo>
                      <a:pt x="3052763" y="5769959"/>
                      <a:pt x="3043904" y="5761101"/>
                      <a:pt x="3032951" y="5761101"/>
                    </a:cubicBezTo>
                    <a:close/>
                    <a:moveTo>
                      <a:pt x="3387185" y="5761101"/>
                    </a:moveTo>
                    <a:lnTo>
                      <a:pt x="3210116" y="5761101"/>
                    </a:lnTo>
                    <a:cubicBezTo>
                      <a:pt x="3199162" y="5761101"/>
                      <a:pt x="3190399" y="5769959"/>
                      <a:pt x="3190399" y="5780818"/>
                    </a:cubicBezTo>
                    <a:cubicBezTo>
                      <a:pt x="3190399" y="5791772"/>
                      <a:pt x="3199257" y="5800535"/>
                      <a:pt x="3210116" y="5800535"/>
                    </a:cubicBezTo>
                    <a:lnTo>
                      <a:pt x="3387185" y="5800535"/>
                    </a:lnTo>
                    <a:cubicBezTo>
                      <a:pt x="3398139" y="5800535"/>
                      <a:pt x="3406902" y="5791677"/>
                      <a:pt x="3406902" y="5780818"/>
                    </a:cubicBezTo>
                    <a:cubicBezTo>
                      <a:pt x="3406997" y="5769959"/>
                      <a:pt x="3398139" y="5761101"/>
                      <a:pt x="3387185" y="5761101"/>
                    </a:cubicBezTo>
                    <a:close/>
                    <a:moveTo>
                      <a:pt x="3273266" y="19717"/>
                    </a:moveTo>
                    <a:cubicBezTo>
                      <a:pt x="3273266" y="8763"/>
                      <a:pt x="3264408" y="0"/>
                      <a:pt x="3253549" y="0"/>
                    </a:cubicBezTo>
                    <a:lnTo>
                      <a:pt x="3076480" y="0"/>
                    </a:lnTo>
                    <a:cubicBezTo>
                      <a:pt x="3065526" y="0"/>
                      <a:pt x="3056763" y="8858"/>
                      <a:pt x="3056763" y="19717"/>
                    </a:cubicBezTo>
                    <a:cubicBezTo>
                      <a:pt x="3056763" y="30670"/>
                      <a:pt x="3065621" y="39434"/>
                      <a:pt x="3076480" y="39434"/>
                    </a:cubicBezTo>
                    <a:lnTo>
                      <a:pt x="3253549" y="39434"/>
                    </a:lnTo>
                    <a:cubicBezTo>
                      <a:pt x="3264408" y="39434"/>
                      <a:pt x="3273266" y="30670"/>
                      <a:pt x="3273266" y="19717"/>
                    </a:cubicBezTo>
                    <a:close/>
                    <a:moveTo>
                      <a:pt x="4095655" y="5761101"/>
                    </a:moveTo>
                    <a:lnTo>
                      <a:pt x="3918490" y="5761101"/>
                    </a:lnTo>
                    <a:cubicBezTo>
                      <a:pt x="3907536" y="5761101"/>
                      <a:pt x="3898773" y="5769959"/>
                      <a:pt x="3898773" y="5780818"/>
                    </a:cubicBezTo>
                    <a:cubicBezTo>
                      <a:pt x="3898773" y="5791772"/>
                      <a:pt x="3907631" y="5800535"/>
                      <a:pt x="3918490" y="5800535"/>
                    </a:cubicBezTo>
                    <a:lnTo>
                      <a:pt x="4095655" y="5800535"/>
                    </a:lnTo>
                    <a:cubicBezTo>
                      <a:pt x="4106609" y="5800535"/>
                      <a:pt x="4115372" y="5791677"/>
                      <a:pt x="4115372" y="5780818"/>
                    </a:cubicBezTo>
                    <a:cubicBezTo>
                      <a:pt x="4115467" y="5769959"/>
                      <a:pt x="4106609" y="5761101"/>
                      <a:pt x="4095655" y="5761101"/>
                    </a:cubicBezTo>
                    <a:close/>
                    <a:moveTo>
                      <a:pt x="5019389" y="80867"/>
                    </a:moveTo>
                    <a:cubicBezTo>
                      <a:pt x="5027200" y="80867"/>
                      <a:pt x="5034630" y="76200"/>
                      <a:pt x="5037773" y="68485"/>
                    </a:cubicBezTo>
                    <a:cubicBezTo>
                      <a:pt x="5041869" y="58388"/>
                      <a:pt x="5036915" y="46863"/>
                      <a:pt x="5026819" y="42767"/>
                    </a:cubicBezTo>
                    <a:cubicBezTo>
                      <a:pt x="4970050" y="20003"/>
                      <a:pt x="4910328" y="6191"/>
                      <a:pt x="4849082" y="1619"/>
                    </a:cubicBezTo>
                    <a:cubicBezTo>
                      <a:pt x="4838224" y="857"/>
                      <a:pt x="4828699" y="8954"/>
                      <a:pt x="4827937" y="19907"/>
                    </a:cubicBezTo>
                    <a:cubicBezTo>
                      <a:pt x="4827175" y="30766"/>
                      <a:pt x="4835271" y="40291"/>
                      <a:pt x="4846225" y="41053"/>
                    </a:cubicBezTo>
                    <a:cubicBezTo>
                      <a:pt x="4903375" y="45244"/>
                      <a:pt x="4959192" y="58198"/>
                      <a:pt x="5012151" y="79439"/>
                    </a:cubicBezTo>
                    <a:cubicBezTo>
                      <a:pt x="5014437" y="80391"/>
                      <a:pt x="5016913" y="80867"/>
                      <a:pt x="5019389" y="80867"/>
                    </a:cubicBezTo>
                    <a:close/>
                    <a:moveTo>
                      <a:pt x="4806410" y="5761101"/>
                    </a:moveTo>
                    <a:lnTo>
                      <a:pt x="4627055" y="5761101"/>
                    </a:lnTo>
                    <a:cubicBezTo>
                      <a:pt x="4616101" y="5761101"/>
                      <a:pt x="4607338" y="5769959"/>
                      <a:pt x="4607338" y="5780818"/>
                    </a:cubicBezTo>
                    <a:cubicBezTo>
                      <a:pt x="4607338" y="5791772"/>
                      <a:pt x="4616196" y="5800535"/>
                      <a:pt x="4627055" y="5800535"/>
                    </a:cubicBezTo>
                    <a:lnTo>
                      <a:pt x="4804410" y="5800535"/>
                    </a:lnTo>
                    <a:lnTo>
                      <a:pt x="4806315" y="5800535"/>
                    </a:lnTo>
                    <a:cubicBezTo>
                      <a:pt x="4817269" y="5800535"/>
                      <a:pt x="4826032" y="5791677"/>
                      <a:pt x="4826032" y="5780818"/>
                    </a:cubicBezTo>
                    <a:cubicBezTo>
                      <a:pt x="4826127" y="5769959"/>
                      <a:pt x="4817269" y="5761101"/>
                      <a:pt x="4806410" y="5761101"/>
                    </a:cubicBezTo>
                    <a:close/>
                    <a:moveTo>
                      <a:pt x="4335971" y="19717"/>
                    </a:moveTo>
                    <a:cubicBezTo>
                      <a:pt x="4335971" y="8763"/>
                      <a:pt x="4327113" y="0"/>
                      <a:pt x="4316254" y="0"/>
                    </a:cubicBezTo>
                    <a:lnTo>
                      <a:pt x="4139184" y="0"/>
                    </a:lnTo>
                    <a:cubicBezTo>
                      <a:pt x="4128230" y="0"/>
                      <a:pt x="4119467" y="8858"/>
                      <a:pt x="4119467" y="19717"/>
                    </a:cubicBezTo>
                    <a:cubicBezTo>
                      <a:pt x="4119467" y="30670"/>
                      <a:pt x="4128326" y="39434"/>
                      <a:pt x="4139184" y="39434"/>
                    </a:cubicBezTo>
                    <a:lnTo>
                      <a:pt x="4316254" y="39434"/>
                    </a:lnTo>
                    <a:cubicBezTo>
                      <a:pt x="4327113" y="39434"/>
                      <a:pt x="4335971" y="30670"/>
                      <a:pt x="4335971" y="19717"/>
                    </a:cubicBezTo>
                    <a:close/>
                    <a:moveTo>
                      <a:pt x="5126927" y="5658422"/>
                    </a:moveTo>
                    <a:cubicBezTo>
                      <a:pt x="5080159" y="5691569"/>
                      <a:pt x="5028914" y="5717191"/>
                      <a:pt x="4974622" y="5734622"/>
                    </a:cubicBezTo>
                    <a:cubicBezTo>
                      <a:pt x="4964240" y="5737956"/>
                      <a:pt x="4958525" y="5749100"/>
                      <a:pt x="4961858" y="5759482"/>
                    </a:cubicBezTo>
                    <a:cubicBezTo>
                      <a:pt x="4964526" y="5767864"/>
                      <a:pt x="4972336" y="5773198"/>
                      <a:pt x="4980718" y="5773198"/>
                    </a:cubicBezTo>
                    <a:cubicBezTo>
                      <a:pt x="4982718" y="5773198"/>
                      <a:pt x="4984719" y="5772912"/>
                      <a:pt x="4986719" y="5772245"/>
                    </a:cubicBezTo>
                    <a:cubicBezTo>
                      <a:pt x="5044917" y="5753577"/>
                      <a:pt x="5099876" y="5726145"/>
                      <a:pt x="5149882" y="5690616"/>
                    </a:cubicBezTo>
                    <a:cubicBezTo>
                      <a:pt x="5158740" y="5684330"/>
                      <a:pt x="5160931" y="5671947"/>
                      <a:pt x="5154549" y="5663089"/>
                    </a:cubicBezTo>
                    <a:cubicBezTo>
                      <a:pt x="5148167" y="5654231"/>
                      <a:pt x="5135785" y="5652135"/>
                      <a:pt x="5126927" y="5658422"/>
                    </a:cubicBezTo>
                    <a:close/>
                    <a:moveTo>
                      <a:pt x="4690206" y="19717"/>
                    </a:moveTo>
                    <a:cubicBezTo>
                      <a:pt x="4690206" y="8763"/>
                      <a:pt x="4681347" y="0"/>
                      <a:pt x="4670489" y="0"/>
                    </a:cubicBezTo>
                    <a:lnTo>
                      <a:pt x="4493419" y="0"/>
                    </a:lnTo>
                    <a:cubicBezTo>
                      <a:pt x="4482465" y="0"/>
                      <a:pt x="4473702" y="8858"/>
                      <a:pt x="4473702" y="19717"/>
                    </a:cubicBezTo>
                    <a:cubicBezTo>
                      <a:pt x="4473702" y="30670"/>
                      <a:pt x="4482560" y="39434"/>
                      <a:pt x="4493419" y="39434"/>
                    </a:cubicBezTo>
                    <a:lnTo>
                      <a:pt x="4670489" y="39434"/>
                    </a:lnTo>
                    <a:cubicBezTo>
                      <a:pt x="4681347" y="39434"/>
                      <a:pt x="4690206" y="30670"/>
                      <a:pt x="4690206" y="19717"/>
                    </a:cubicBezTo>
                    <a:close/>
                    <a:moveTo>
                      <a:pt x="4449890" y="5761101"/>
                    </a:moveTo>
                    <a:lnTo>
                      <a:pt x="4272820" y="5761101"/>
                    </a:lnTo>
                    <a:cubicBezTo>
                      <a:pt x="4261866" y="5761101"/>
                      <a:pt x="4253103" y="5769959"/>
                      <a:pt x="4253103" y="5780818"/>
                    </a:cubicBezTo>
                    <a:cubicBezTo>
                      <a:pt x="4253103" y="5791772"/>
                      <a:pt x="4261962" y="5800535"/>
                      <a:pt x="4272820" y="5800535"/>
                    </a:cubicBezTo>
                    <a:lnTo>
                      <a:pt x="4449890" y="5800535"/>
                    </a:lnTo>
                    <a:cubicBezTo>
                      <a:pt x="4460843" y="5800535"/>
                      <a:pt x="4469606" y="5791677"/>
                      <a:pt x="4469606" y="5780818"/>
                    </a:cubicBezTo>
                    <a:cubicBezTo>
                      <a:pt x="4469702" y="5769959"/>
                      <a:pt x="4460843" y="5761101"/>
                      <a:pt x="4449890" y="5761101"/>
                    </a:cubicBez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446"/>
                <a:endParaRPr lang="en-GB">
                  <a:solidFill>
                    <a:srgbClr val="000000"/>
                  </a:solidFill>
                  <a:latin typeface="Novo Apply Sans"/>
                </a:endParaRPr>
              </a:p>
            </p:txBody>
          </p:sp>
          <p:grpSp>
            <p:nvGrpSpPr>
              <p:cNvPr id="25" name="Graphic 383">
                <a:extLst>
                  <a:ext uri="{FF2B5EF4-FFF2-40B4-BE49-F238E27FC236}">
                    <a16:creationId xmlns:a16="http://schemas.microsoft.com/office/drawing/2014/main" id="{3F8F35DD-C10B-4D17-AF14-8367411D2C0B}"/>
                  </a:ext>
                </a:extLst>
              </p:cNvPr>
              <p:cNvGrpSpPr/>
              <p:nvPr/>
            </p:nvGrpSpPr>
            <p:grpSpPr>
              <a:xfrm>
                <a:off x="5584122" y="4343400"/>
                <a:ext cx="665705" cy="1692866"/>
                <a:chOff x="9961530" y="2185987"/>
                <a:chExt cx="2327719" cy="5919311"/>
              </a:xfrm>
              <a:solidFill>
                <a:srgbClr val="FBB03B"/>
              </a:solidFill>
            </p:grpSpPr>
            <p:sp>
              <p:nvSpPr>
                <p:cNvPr id="26" name="Freeform: Shape 25">
                  <a:extLst>
                    <a:ext uri="{FF2B5EF4-FFF2-40B4-BE49-F238E27FC236}">
                      <a16:creationId xmlns:a16="http://schemas.microsoft.com/office/drawing/2014/main" id="{FDBA5AFA-8626-4CE3-94FB-835D8830971F}"/>
                    </a:ext>
                  </a:extLst>
                </p:cNvPr>
                <p:cNvSpPr/>
                <p:nvPr/>
              </p:nvSpPr>
              <p:spPr>
                <a:xfrm>
                  <a:off x="9961530" y="2185987"/>
                  <a:ext cx="1500473" cy="5919311"/>
                </a:xfrm>
                <a:custGeom>
                  <a:avLst/>
                  <a:gdLst>
                    <a:gd name="connsiteX0" fmla="*/ 843344 w 1500473"/>
                    <a:gd name="connsiteY0" fmla="*/ 5919312 h 5919311"/>
                    <a:gd name="connsiteX1" fmla="*/ 0 w 1500473"/>
                    <a:gd name="connsiteY1" fmla="*/ 5919312 h 5919311"/>
                    <a:gd name="connsiteX2" fmla="*/ 0 w 1500473"/>
                    <a:gd name="connsiteY2" fmla="*/ 5761196 h 5919311"/>
                    <a:gd name="connsiteX3" fmla="*/ 843344 w 1500473"/>
                    <a:gd name="connsiteY3" fmla="*/ 5761196 h 5919311"/>
                    <a:gd name="connsiteX4" fmla="*/ 1342359 w 1500473"/>
                    <a:gd name="connsiteY4" fmla="*/ 5262182 h 5919311"/>
                    <a:gd name="connsiteX5" fmla="*/ 1342359 w 1500473"/>
                    <a:gd name="connsiteY5" fmla="*/ 657130 h 5919311"/>
                    <a:gd name="connsiteX6" fmla="*/ 843344 w 1500473"/>
                    <a:gd name="connsiteY6" fmla="*/ 158020 h 5919311"/>
                    <a:gd name="connsiteX7" fmla="*/ 3239 w 1500473"/>
                    <a:gd name="connsiteY7" fmla="*/ 158020 h 5919311"/>
                    <a:gd name="connsiteX8" fmla="*/ 3239 w 1500473"/>
                    <a:gd name="connsiteY8" fmla="*/ 0 h 5919311"/>
                    <a:gd name="connsiteX9" fmla="*/ 843344 w 1500473"/>
                    <a:gd name="connsiteY9" fmla="*/ 0 h 5919311"/>
                    <a:gd name="connsiteX10" fmla="*/ 1500473 w 1500473"/>
                    <a:gd name="connsiteY10" fmla="*/ 657130 h 5919311"/>
                    <a:gd name="connsiteX11" fmla="*/ 1500473 w 1500473"/>
                    <a:gd name="connsiteY11" fmla="*/ 5262087 h 5919311"/>
                    <a:gd name="connsiteX12" fmla="*/ 843344 w 1500473"/>
                    <a:gd name="connsiteY12" fmla="*/ 5919312 h 59193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500473" h="5919311">
                      <a:moveTo>
                        <a:pt x="843344" y="5919312"/>
                      </a:moveTo>
                      <a:lnTo>
                        <a:pt x="0" y="5919312"/>
                      </a:lnTo>
                      <a:lnTo>
                        <a:pt x="0" y="5761196"/>
                      </a:lnTo>
                      <a:lnTo>
                        <a:pt x="843344" y="5761196"/>
                      </a:lnTo>
                      <a:cubicBezTo>
                        <a:pt x="1118521" y="5761196"/>
                        <a:pt x="1342359" y="5537359"/>
                        <a:pt x="1342359" y="5262182"/>
                      </a:cubicBezTo>
                      <a:lnTo>
                        <a:pt x="1342359" y="657130"/>
                      </a:lnTo>
                      <a:cubicBezTo>
                        <a:pt x="1342359" y="381953"/>
                        <a:pt x="1118521" y="158020"/>
                        <a:pt x="843344" y="158020"/>
                      </a:cubicBezTo>
                      <a:lnTo>
                        <a:pt x="3239" y="158020"/>
                      </a:lnTo>
                      <a:lnTo>
                        <a:pt x="3239" y="0"/>
                      </a:lnTo>
                      <a:lnTo>
                        <a:pt x="843344" y="0"/>
                      </a:lnTo>
                      <a:cubicBezTo>
                        <a:pt x="1205674" y="0"/>
                        <a:pt x="1500473" y="294799"/>
                        <a:pt x="1500473" y="657130"/>
                      </a:cubicBezTo>
                      <a:lnTo>
                        <a:pt x="1500473" y="5262087"/>
                      </a:lnTo>
                      <a:cubicBezTo>
                        <a:pt x="1500569" y="5624513"/>
                        <a:pt x="1205770" y="5919312"/>
                        <a:pt x="843344" y="5919312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914446"/>
                  <a:endParaRPr lang="en-GB">
                    <a:solidFill>
                      <a:srgbClr val="000000"/>
                    </a:solidFill>
                    <a:latin typeface="Novo Apply Sans"/>
                  </a:endParaRPr>
                </a:p>
              </p:txBody>
            </p:sp>
            <p:sp>
              <p:nvSpPr>
                <p:cNvPr id="27" name="Freeform: Shape 26">
                  <a:extLst>
                    <a:ext uri="{FF2B5EF4-FFF2-40B4-BE49-F238E27FC236}">
                      <a16:creationId xmlns:a16="http://schemas.microsoft.com/office/drawing/2014/main" id="{8A913CA2-E711-4358-9DDC-F1D7F88F5677}"/>
                    </a:ext>
                  </a:extLst>
                </p:cNvPr>
                <p:cNvSpPr/>
                <p:nvPr/>
              </p:nvSpPr>
              <p:spPr>
                <a:xfrm>
                  <a:off x="11775852" y="4835842"/>
                  <a:ext cx="513397" cy="621315"/>
                </a:xfrm>
                <a:custGeom>
                  <a:avLst/>
                  <a:gdLst>
                    <a:gd name="connsiteX0" fmla="*/ 513398 w 513397"/>
                    <a:gd name="connsiteY0" fmla="*/ 310610 h 621315"/>
                    <a:gd name="connsiteX1" fmla="*/ 0 w 513397"/>
                    <a:gd name="connsiteY1" fmla="*/ 0 h 621315"/>
                    <a:gd name="connsiteX2" fmla="*/ 0 w 513397"/>
                    <a:gd name="connsiteY2" fmla="*/ 621316 h 6213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13397" h="621315">
                      <a:moveTo>
                        <a:pt x="513398" y="310610"/>
                      </a:moveTo>
                      <a:lnTo>
                        <a:pt x="0" y="0"/>
                      </a:lnTo>
                      <a:lnTo>
                        <a:pt x="0" y="621316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914446"/>
                  <a:endParaRPr lang="en-GB">
                    <a:solidFill>
                      <a:srgbClr val="000000"/>
                    </a:solidFill>
                    <a:latin typeface="Novo Apply Sans"/>
                  </a:endParaRPr>
                </a:p>
              </p:txBody>
            </p:sp>
            <p:sp>
              <p:nvSpPr>
                <p:cNvPr id="28" name="Freeform: Shape 27">
                  <a:extLst>
                    <a:ext uri="{FF2B5EF4-FFF2-40B4-BE49-F238E27FC236}">
                      <a16:creationId xmlns:a16="http://schemas.microsoft.com/office/drawing/2014/main" id="{8F45DA81-2683-44FE-BACE-C3D1EEF83D44}"/>
                    </a:ext>
                  </a:extLst>
                </p:cNvPr>
                <p:cNvSpPr/>
                <p:nvPr/>
              </p:nvSpPr>
              <p:spPr>
                <a:xfrm>
                  <a:off x="11329701" y="5041296"/>
                  <a:ext cx="740092" cy="210311"/>
                </a:xfrm>
                <a:custGeom>
                  <a:avLst/>
                  <a:gdLst>
                    <a:gd name="connsiteX0" fmla="*/ 0 w 740092"/>
                    <a:gd name="connsiteY0" fmla="*/ 0 h 210311"/>
                    <a:gd name="connsiteX1" fmla="*/ 740092 w 740092"/>
                    <a:gd name="connsiteY1" fmla="*/ 0 h 210311"/>
                    <a:gd name="connsiteX2" fmla="*/ 740092 w 740092"/>
                    <a:gd name="connsiteY2" fmla="*/ 210312 h 210311"/>
                    <a:gd name="connsiteX3" fmla="*/ 0 w 740092"/>
                    <a:gd name="connsiteY3" fmla="*/ 210312 h 2103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40092" h="210311">
                      <a:moveTo>
                        <a:pt x="0" y="0"/>
                      </a:moveTo>
                      <a:lnTo>
                        <a:pt x="740092" y="0"/>
                      </a:lnTo>
                      <a:lnTo>
                        <a:pt x="740092" y="210312"/>
                      </a:lnTo>
                      <a:lnTo>
                        <a:pt x="0" y="210312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914446"/>
                  <a:endParaRPr lang="en-GB">
                    <a:solidFill>
                      <a:srgbClr val="000000"/>
                    </a:solidFill>
                    <a:latin typeface="Novo Apply Sans"/>
                  </a:endParaRPr>
                </a:p>
              </p:txBody>
            </p:sp>
          </p:grpSp>
        </p:grpSp>
        <p:pic>
          <p:nvPicPr>
            <p:cNvPr id="79" name="Graphic 78">
              <a:extLst>
                <a:ext uri="{FF2B5EF4-FFF2-40B4-BE49-F238E27FC236}">
                  <a16:creationId xmlns:a16="http://schemas.microsoft.com/office/drawing/2014/main" id="{884709A2-71E7-41C5-BE1B-BBD76407577C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4772617" y="4487385"/>
              <a:ext cx="676275" cy="676275"/>
            </a:xfrm>
            <a:prstGeom prst="rect">
              <a:avLst/>
            </a:prstGeom>
          </p:spPr>
        </p:pic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D899A684-0E96-4733-BF29-D71A4053B2B6}"/>
                </a:ext>
              </a:extLst>
            </p:cNvPr>
            <p:cNvSpPr>
              <a:spLocks/>
            </p:cNvSpPr>
            <p:nvPr/>
          </p:nvSpPr>
          <p:spPr>
            <a:xfrm>
              <a:off x="4357861" y="5283150"/>
              <a:ext cx="1447265" cy="65652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914446">
                <a:lnSpc>
                  <a:spcPts val="1400"/>
                </a:lnSpc>
              </a:pPr>
              <a:r>
                <a:rPr lang="en-GB" sz="1067" b="1" dirty="0">
                  <a:solidFill>
                    <a:srgbClr val="001965"/>
                  </a:solidFill>
                  <a:latin typeface="Novo Apply Sans" panose="020F0502020204030204" pitchFamily="34" charset="0"/>
                </a:rPr>
                <a:t>Innovation Grants</a:t>
              </a: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4A4DA081-938C-4448-A595-87FB67F87052}"/>
              </a:ext>
            </a:extLst>
          </p:cNvPr>
          <p:cNvGrpSpPr/>
          <p:nvPr/>
        </p:nvGrpSpPr>
        <p:grpSpPr>
          <a:xfrm>
            <a:off x="2102652" y="2784239"/>
            <a:ext cx="1435580" cy="1351299"/>
            <a:chOff x="2174299" y="4176359"/>
            <a:chExt cx="2153370" cy="2026948"/>
          </a:xfrm>
        </p:grpSpPr>
        <p:grpSp>
          <p:nvGrpSpPr>
            <p:cNvPr id="119" name="Group 118">
              <a:extLst>
                <a:ext uri="{FF2B5EF4-FFF2-40B4-BE49-F238E27FC236}">
                  <a16:creationId xmlns:a16="http://schemas.microsoft.com/office/drawing/2014/main" id="{138F9A26-09E1-4FB1-97F4-3A7BA1D8A990}"/>
                </a:ext>
              </a:extLst>
            </p:cNvPr>
            <p:cNvGrpSpPr>
              <a:grpSpLocks/>
            </p:cNvGrpSpPr>
            <p:nvPr/>
          </p:nvGrpSpPr>
          <p:grpSpPr>
            <a:xfrm>
              <a:off x="2174299" y="4176359"/>
              <a:ext cx="2153370" cy="2026948"/>
              <a:chOff x="2494770" y="4343400"/>
              <a:chExt cx="1798450" cy="1692866"/>
            </a:xfrm>
          </p:grpSpPr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478B4BCF-7602-46C7-9CF4-C0C8456975CF}"/>
                  </a:ext>
                </a:extLst>
              </p:cNvPr>
              <p:cNvSpPr/>
              <p:nvPr/>
            </p:nvSpPr>
            <p:spPr>
              <a:xfrm>
                <a:off x="2624626" y="4491916"/>
                <a:ext cx="1299213" cy="1395807"/>
              </a:xfrm>
              <a:custGeom>
                <a:avLst/>
                <a:gdLst>
                  <a:gd name="connsiteX0" fmla="*/ 3985641 w 4542853"/>
                  <a:gd name="connsiteY0" fmla="*/ 4880610 h 4880609"/>
                  <a:gd name="connsiteX1" fmla="*/ 557308 w 4542853"/>
                  <a:gd name="connsiteY1" fmla="*/ 4880610 h 4880609"/>
                  <a:gd name="connsiteX2" fmla="*/ 0 w 4542853"/>
                  <a:gd name="connsiteY2" fmla="*/ 4323303 h 4880609"/>
                  <a:gd name="connsiteX3" fmla="*/ 0 w 4542853"/>
                  <a:gd name="connsiteY3" fmla="*/ 557308 h 4880609"/>
                  <a:gd name="connsiteX4" fmla="*/ 557308 w 4542853"/>
                  <a:gd name="connsiteY4" fmla="*/ 0 h 4880609"/>
                  <a:gd name="connsiteX5" fmla="*/ 3985546 w 4542853"/>
                  <a:gd name="connsiteY5" fmla="*/ 0 h 4880609"/>
                  <a:gd name="connsiteX6" fmla="*/ 4542854 w 4542853"/>
                  <a:gd name="connsiteY6" fmla="*/ 557308 h 4880609"/>
                  <a:gd name="connsiteX7" fmla="*/ 4542854 w 4542853"/>
                  <a:gd name="connsiteY7" fmla="*/ 4323303 h 4880609"/>
                  <a:gd name="connsiteX8" fmla="*/ 3985641 w 4542853"/>
                  <a:gd name="connsiteY8" fmla="*/ 4880610 h 48806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42853" h="4880609">
                    <a:moveTo>
                      <a:pt x="3985641" y="4880610"/>
                    </a:moveTo>
                    <a:lnTo>
                      <a:pt x="557308" y="4880610"/>
                    </a:lnTo>
                    <a:cubicBezTo>
                      <a:pt x="249555" y="4880610"/>
                      <a:pt x="0" y="4631150"/>
                      <a:pt x="0" y="4323303"/>
                    </a:cubicBezTo>
                    <a:lnTo>
                      <a:pt x="0" y="557308"/>
                    </a:lnTo>
                    <a:cubicBezTo>
                      <a:pt x="0" y="249555"/>
                      <a:pt x="249460" y="0"/>
                      <a:pt x="557308" y="0"/>
                    </a:cubicBezTo>
                    <a:lnTo>
                      <a:pt x="3985546" y="0"/>
                    </a:lnTo>
                    <a:cubicBezTo>
                      <a:pt x="4293299" y="0"/>
                      <a:pt x="4542854" y="249460"/>
                      <a:pt x="4542854" y="557308"/>
                    </a:cubicBezTo>
                    <a:lnTo>
                      <a:pt x="4542854" y="4323303"/>
                    </a:lnTo>
                    <a:cubicBezTo>
                      <a:pt x="4542854" y="4631055"/>
                      <a:pt x="4293394" y="4880610"/>
                      <a:pt x="3985641" y="4880610"/>
                    </a:cubicBezTo>
                    <a:close/>
                  </a:path>
                </a:pathLst>
              </a:custGeom>
              <a:solidFill>
                <a:srgbClr val="CCCCC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446"/>
                <a:endParaRPr lang="en-GB">
                  <a:solidFill>
                    <a:srgbClr val="000000"/>
                  </a:solidFill>
                  <a:latin typeface="Novo Apply Sans"/>
                </a:endParaRPr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6294FF08-9EE3-4A44-AE54-AD0641062654}"/>
                  </a:ext>
                </a:extLst>
              </p:cNvPr>
              <p:cNvSpPr/>
              <p:nvPr/>
            </p:nvSpPr>
            <p:spPr>
              <a:xfrm>
                <a:off x="2624054" y="4498835"/>
                <a:ext cx="1286355" cy="1381969"/>
              </a:xfrm>
              <a:custGeom>
                <a:avLst/>
                <a:gdLst>
                  <a:gd name="connsiteX0" fmla="*/ 3940588 w 4497895"/>
                  <a:gd name="connsiteY0" fmla="*/ 4832223 h 4832223"/>
                  <a:gd name="connsiteX1" fmla="*/ 557308 w 4497895"/>
                  <a:gd name="connsiteY1" fmla="*/ 4832223 h 4832223"/>
                  <a:gd name="connsiteX2" fmla="*/ 0 w 4497895"/>
                  <a:gd name="connsiteY2" fmla="*/ 4274915 h 4832223"/>
                  <a:gd name="connsiteX3" fmla="*/ 0 w 4497895"/>
                  <a:gd name="connsiteY3" fmla="*/ 557308 h 4832223"/>
                  <a:gd name="connsiteX4" fmla="*/ 557308 w 4497895"/>
                  <a:gd name="connsiteY4" fmla="*/ 0 h 4832223"/>
                  <a:gd name="connsiteX5" fmla="*/ 3940588 w 4497895"/>
                  <a:gd name="connsiteY5" fmla="*/ 0 h 4832223"/>
                  <a:gd name="connsiteX6" fmla="*/ 4497896 w 4497895"/>
                  <a:gd name="connsiteY6" fmla="*/ 557308 h 4832223"/>
                  <a:gd name="connsiteX7" fmla="*/ 4497896 w 4497895"/>
                  <a:gd name="connsiteY7" fmla="*/ 4275011 h 4832223"/>
                  <a:gd name="connsiteX8" fmla="*/ 3940588 w 4497895"/>
                  <a:gd name="connsiteY8" fmla="*/ 4832223 h 48322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497895" h="4832223">
                    <a:moveTo>
                      <a:pt x="3940588" y="4832223"/>
                    </a:moveTo>
                    <a:lnTo>
                      <a:pt x="557308" y="4832223"/>
                    </a:lnTo>
                    <a:cubicBezTo>
                      <a:pt x="249555" y="4832223"/>
                      <a:pt x="0" y="4582764"/>
                      <a:pt x="0" y="4274915"/>
                    </a:cubicBezTo>
                    <a:lnTo>
                      <a:pt x="0" y="557308"/>
                    </a:lnTo>
                    <a:cubicBezTo>
                      <a:pt x="0" y="249555"/>
                      <a:pt x="249460" y="0"/>
                      <a:pt x="557308" y="0"/>
                    </a:cubicBezTo>
                    <a:lnTo>
                      <a:pt x="3940588" y="0"/>
                    </a:lnTo>
                    <a:cubicBezTo>
                      <a:pt x="4248341" y="0"/>
                      <a:pt x="4497896" y="249460"/>
                      <a:pt x="4497896" y="557308"/>
                    </a:cubicBezTo>
                    <a:lnTo>
                      <a:pt x="4497896" y="4275011"/>
                    </a:lnTo>
                    <a:cubicBezTo>
                      <a:pt x="4497896" y="4582764"/>
                      <a:pt x="4248341" y="4832223"/>
                      <a:pt x="3940588" y="4832223"/>
                    </a:cubicBezTo>
                    <a:close/>
                  </a:path>
                </a:pathLst>
              </a:custGeom>
              <a:solidFill>
                <a:srgbClr val="F2F2F2"/>
              </a:solidFill>
              <a:ln w="9525" cap="flat">
                <a:noFill/>
                <a:prstDash val="solid"/>
                <a:miter/>
              </a:ln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defTabSz="914446"/>
                <a:endParaRPr lang="en-GB">
                  <a:solidFill>
                    <a:srgbClr val="000000"/>
                  </a:solidFill>
                  <a:latin typeface="Novo Apply Sans"/>
                </a:endParaRPr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12D871C5-BA48-4F57-821D-7A8419BDF83A}"/>
                  </a:ext>
                </a:extLst>
              </p:cNvPr>
              <p:cNvSpPr/>
              <p:nvPr/>
            </p:nvSpPr>
            <p:spPr>
              <a:xfrm>
                <a:off x="2494770" y="4360371"/>
                <a:ext cx="1544923" cy="1658897"/>
              </a:xfrm>
              <a:custGeom>
                <a:avLst/>
                <a:gdLst>
                  <a:gd name="connsiteX0" fmla="*/ 1147858 w 5402008"/>
                  <a:gd name="connsiteY0" fmla="*/ 19717 h 5800534"/>
                  <a:gd name="connsiteX1" fmla="*/ 1128141 w 5402008"/>
                  <a:gd name="connsiteY1" fmla="*/ 0 h 5800534"/>
                  <a:gd name="connsiteX2" fmla="*/ 950976 w 5402008"/>
                  <a:gd name="connsiteY2" fmla="*/ 0 h 5800534"/>
                  <a:gd name="connsiteX3" fmla="*/ 931259 w 5402008"/>
                  <a:gd name="connsiteY3" fmla="*/ 19717 h 5800534"/>
                  <a:gd name="connsiteX4" fmla="*/ 950976 w 5402008"/>
                  <a:gd name="connsiteY4" fmla="*/ 39434 h 5800534"/>
                  <a:gd name="connsiteX5" fmla="*/ 1128141 w 5402008"/>
                  <a:gd name="connsiteY5" fmla="*/ 39434 h 5800534"/>
                  <a:gd name="connsiteX6" fmla="*/ 1147858 w 5402008"/>
                  <a:gd name="connsiteY6" fmla="*/ 19717 h 5800534"/>
                  <a:gd name="connsiteX7" fmla="*/ 1261872 w 5402008"/>
                  <a:gd name="connsiteY7" fmla="*/ 5761101 h 5800534"/>
                  <a:gd name="connsiteX8" fmla="*/ 1084707 w 5402008"/>
                  <a:gd name="connsiteY8" fmla="*/ 5761101 h 5800534"/>
                  <a:gd name="connsiteX9" fmla="*/ 1064990 w 5402008"/>
                  <a:gd name="connsiteY9" fmla="*/ 5780818 h 5800534"/>
                  <a:gd name="connsiteX10" fmla="*/ 1084707 w 5402008"/>
                  <a:gd name="connsiteY10" fmla="*/ 5800535 h 5800534"/>
                  <a:gd name="connsiteX11" fmla="*/ 1261872 w 5402008"/>
                  <a:gd name="connsiteY11" fmla="*/ 5800535 h 5800534"/>
                  <a:gd name="connsiteX12" fmla="*/ 1281589 w 5402008"/>
                  <a:gd name="connsiteY12" fmla="*/ 5780818 h 5800534"/>
                  <a:gd name="connsiteX13" fmla="*/ 1261872 w 5402008"/>
                  <a:gd name="connsiteY13" fmla="*/ 5761101 h 5800534"/>
                  <a:gd name="connsiteX14" fmla="*/ 907637 w 5402008"/>
                  <a:gd name="connsiteY14" fmla="*/ 5761101 h 5800534"/>
                  <a:gd name="connsiteX15" fmla="*/ 730472 w 5402008"/>
                  <a:gd name="connsiteY15" fmla="*/ 5761101 h 5800534"/>
                  <a:gd name="connsiteX16" fmla="*/ 710756 w 5402008"/>
                  <a:gd name="connsiteY16" fmla="*/ 5780818 h 5800534"/>
                  <a:gd name="connsiteX17" fmla="*/ 730472 w 5402008"/>
                  <a:gd name="connsiteY17" fmla="*/ 5800535 h 5800534"/>
                  <a:gd name="connsiteX18" fmla="*/ 907637 w 5402008"/>
                  <a:gd name="connsiteY18" fmla="*/ 5800535 h 5800534"/>
                  <a:gd name="connsiteX19" fmla="*/ 927354 w 5402008"/>
                  <a:gd name="connsiteY19" fmla="*/ 5780818 h 5800534"/>
                  <a:gd name="connsiteX20" fmla="*/ 907637 w 5402008"/>
                  <a:gd name="connsiteY20" fmla="*/ 5761101 h 5800534"/>
                  <a:gd name="connsiteX21" fmla="*/ 441293 w 5402008"/>
                  <a:gd name="connsiteY21" fmla="*/ 40767 h 5800534"/>
                  <a:gd name="connsiteX22" fmla="*/ 416433 w 5402008"/>
                  <a:gd name="connsiteY22" fmla="*/ 27908 h 5800534"/>
                  <a:gd name="connsiteX23" fmla="*/ 253079 w 5402008"/>
                  <a:gd name="connsiteY23" fmla="*/ 109157 h 5800534"/>
                  <a:gd name="connsiteX24" fmla="*/ 248317 w 5402008"/>
                  <a:gd name="connsiteY24" fmla="*/ 136684 h 5800534"/>
                  <a:gd name="connsiteX25" fmla="*/ 264509 w 5402008"/>
                  <a:gd name="connsiteY25" fmla="*/ 145066 h 5800534"/>
                  <a:gd name="connsiteX26" fmla="*/ 275939 w 5402008"/>
                  <a:gd name="connsiteY26" fmla="*/ 141446 h 5800534"/>
                  <a:gd name="connsiteX27" fmla="*/ 428435 w 5402008"/>
                  <a:gd name="connsiteY27" fmla="*/ 65532 h 5800534"/>
                  <a:gd name="connsiteX28" fmla="*/ 441293 w 5402008"/>
                  <a:gd name="connsiteY28" fmla="*/ 40767 h 5800534"/>
                  <a:gd name="connsiteX29" fmla="*/ 2678716 w 5402008"/>
                  <a:gd name="connsiteY29" fmla="*/ 5761101 h 5800534"/>
                  <a:gd name="connsiteX30" fmla="*/ 2501551 w 5402008"/>
                  <a:gd name="connsiteY30" fmla="*/ 5761101 h 5800534"/>
                  <a:gd name="connsiteX31" fmla="*/ 2481834 w 5402008"/>
                  <a:gd name="connsiteY31" fmla="*/ 5780818 h 5800534"/>
                  <a:gd name="connsiteX32" fmla="*/ 2501551 w 5402008"/>
                  <a:gd name="connsiteY32" fmla="*/ 5800535 h 5800534"/>
                  <a:gd name="connsiteX33" fmla="*/ 2678716 w 5402008"/>
                  <a:gd name="connsiteY33" fmla="*/ 5800535 h 5800534"/>
                  <a:gd name="connsiteX34" fmla="*/ 2698433 w 5402008"/>
                  <a:gd name="connsiteY34" fmla="*/ 5780818 h 5800534"/>
                  <a:gd name="connsiteX35" fmla="*/ 2678716 w 5402008"/>
                  <a:gd name="connsiteY35" fmla="*/ 5761101 h 5800534"/>
                  <a:gd name="connsiteX36" fmla="*/ 793623 w 5402008"/>
                  <a:gd name="connsiteY36" fmla="*/ 19717 h 5800534"/>
                  <a:gd name="connsiteX37" fmla="*/ 773906 w 5402008"/>
                  <a:gd name="connsiteY37" fmla="*/ 0 h 5800534"/>
                  <a:gd name="connsiteX38" fmla="*/ 596741 w 5402008"/>
                  <a:gd name="connsiteY38" fmla="*/ 0 h 5800534"/>
                  <a:gd name="connsiteX39" fmla="*/ 577025 w 5402008"/>
                  <a:gd name="connsiteY39" fmla="*/ 19717 h 5800534"/>
                  <a:gd name="connsiteX40" fmla="*/ 596741 w 5402008"/>
                  <a:gd name="connsiteY40" fmla="*/ 39434 h 5800534"/>
                  <a:gd name="connsiteX41" fmla="*/ 773906 w 5402008"/>
                  <a:gd name="connsiteY41" fmla="*/ 39434 h 5800534"/>
                  <a:gd name="connsiteX42" fmla="*/ 793623 w 5402008"/>
                  <a:gd name="connsiteY42" fmla="*/ 19717 h 5800534"/>
                  <a:gd name="connsiteX43" fmla="*/ 1502093 w 5402008"/>
                  <a:gd name="connsiteY43" fmla="*/ 19717 h 5800534"/>
                  <a:gd name="connsiteX44" fmla="*/ 1482376 w 5402008"/>
                  <a:gd name="connsiteY44" fmla="*/ 0 h 5800534"/>
                  <a:gd name="connsiteX45" fmla="*/ 1305306 w 5402008"/>
                  <a:gd name="connsiteY45" fmla="*/ 0 h 5800534"/>
                  <a:gd name="connsiteX46" fmla="*/ 1285589 w 5402008"/>
                  <a:gd name="connsiteY46" fmla="*/ 19717 h 5800534"/>
                  <a:gd name="connsiteX47" fmla="*/ 1305306 w 5402008"/>
                  <a:gd name="connsiteY47" fmla="*/ 39434 h 5800534"/>
                  <a:gd name="connsiteX48" fmla="*/ 1482376 w 5402008"/>
                  <a:gd name="connsiteY48" fmla="*/ 39434 h 5800534"/>
                  <a:gd name="connsiteX49" fmla="*/ 1502093 w 5402008"/>
                  <a:gd name="connsiteY49" fmla="*/ 19717 h 5800534"/>
                  <a:gd name="connsiteX50" fmla="*/ 2324481 w 5402008"/>
                  <a:gd name="connsiteY50" fmla="*/ 5761101 h 5800534"/>
                  <a:gd name="connsiteX51" fmla="*/ 2147316 w 5402008"/>
                  <a:gd name="connsiteY51" fmla="*/ 5761101 h 5800534"/>
                  <a:gd name="connsiteX52" fmla="*/ 2127599 w 5402008"/>
                  <a:gd name="connsiteY52" fmla="*/ 5780818 h 5800534"/>
                  <a:gd name="connsiteX53" fmla="*/ 2147316 w 5402008"/>
                  <a:gd name="connsiteY53" fmla="*/ 5800535 h 5800534"/>
                  <a:gd name="connsiteX54" fmla="*/ 2324481 w 5402008"/>
                  <a:gd name="connsiteY54" fmla="*/ 5800535 h 5800534"/>
                  <a:gd name="connsiteX55" fmla="*/ 2344198 w 5402008"/>
                  <a:gd name="connsiteY55" fmla="*/ 5780818 h 5800534"/>
                  <a:gd name="connsiteX56" fmla="*/ 2324481 w 5402008"/>
                  <a:gd name="connsiteY56" fmla="*/ 5761101 h 5800534"/>
                  <a:gd name="connsiteX57" fmla="*/ 2564797 w 5402008"/>
                  <a:gd name="connsiteY57" fmla="*/ 19717 h 5800534"/>
                  <a:gd name="connsiteX58" fmla="*/ 2545080 w 5402008"/>
                  <a:gd name="connsiteY58" fmla="*/ 0 h 5800534"/>
                  <a:gd name="connsiteX59" fmla="*/ 2367915 w 5402008"/>
                  <a:gd name="connsiteY59" fmla="*/ 0 h 5800534"/>
                  <a:gd name="connsiteX60" fmla="*/ 2348198 w 5402008"/>
                  <a:gd name="connsiteY60" fmla="*/ 19717 h 5800534"/>
                  <a:gd name="connsiteX61" fmla="*/ 2367915 w 5402008"/>
                  <a:gd name="connsiteY61" fmla="*/ 39434 h 5800534"/>
                  <a:gd name="connsiteX62" fmla="*/ 2545080 w 5402008"/>
                  <a:gd name="connsiteY62" fmla="*/ 39434 h 5800534"/>
                  <a:gd name="connsiteX63" fmla="*/ 2564797 w 5402008"/>
                  <a:gd name="connsiteY63" fmla="*/ 19717 h 5800534"/>
                  <a:gd name="connsiteX64" fmla="*/ 129254 w 5402008"/>
                  <a:gd name="connsiteY64" fmla="*/ 5506403 h 5800534"/>
                  <a:gd name="connsiteX65" fmla="*/ 101918 w 5402008"/>
                  <a:gd name="connsiteY65" fmla="*/ 5500592 h 5800534"/>
                  <a:gd name="connsiteX66" fmla="*/ 96107 w 5402008"/>
                  <a:gd name="connsiteY66" fmla="*/ 5527930 h 5800534"/>
                  <a:gd name="connsiteX67" fmla="*/ 217551 w 5402008"/>
                  <a:gd name="connsiteY67" fmla="*/ 5664042 h 5800534"/>
                  <a:gd name="connsiteX68" fmla="*/ 230124 w 5402008"/>
                  <a:gd name="connsiteY68" fmla="*/ 5668613 h 5800534"/>
                  <a:gd name="connsiteX69" fmla="*/ 245364 w 5402008"/>
                  <a:gd name="connsiteY69" fmla="*/ 5661470 h 5800534"/>
                  <a:gd name="connsiteX70" fmla="*/ 242697 w 5402008"/>
                  <a:gd name="connsiteY70" fmla="*/ 5633657 h 5800534"/>
                  <a:gd name="connsiteX71" fmla="*/ 129254 w 5402008"/>
                  <a:gd name="connsiteY71" fmla="*/ 5506403 h 5800534"/>
                  <a:gd name="connsiteX72" fmla="*/ 2210562 w 5402008"/>
                  <a:gd name="connsiteY72" fmla="*/ 19717 h 5800534"/>
                  <a:gd name="connsiteX73" fmla="*/ 2190845 w 5402008"/>
                  <a:gd name="connsiteY73" fmla="*/ 0 h 5800534"/>
                  <a:gd name="connsiteX74" fmla="*/ 2013776 w 5402008"/>
                  <a:gd name="connsiteY74" fmla="*/ 0 h 5800534"/>
                  <a:gd name="connsiteX75" fmla="*/ 1994059 w 5402008"/>
                  <a:gd name="connsiteY75" fmla="*/ 19717 h 5800534"/>
                  <a:gd name="connsiteX76" fmla="*/ 2013776 w 5402008"/>
                  <a:gd name="connsiteY76" fmla="*/ 39434 h 5800534"/>
                  <a:gd name="connsiteX77" fmla="*/ 2190845 w 5402008"/>
                  <a:gd name="connsiteY77" fmla="*/ 39434 h 5800534"/>
                  <a:gd name="connsiteX78" fmla="*/ 2210562 w 5402008"/>
                  <a:gd name="connsiteY78" fmla="*/ 19717 h 5800534"/>
                  <a:gd name="connsiteX79" fmla="*/ 1970246 w 5402008"/>
                  <a:gd name="connsiteY79" fmla="*/ 5761101 h 5800534"/>
                  <a:gd name="connsiteX80" fmla="*/ 1793177 w 5402008"/>
                  <a:gd name="connsiteY80" fmla="*/ 5761101 h 5800534"/>
                  <a:gd name="connsiteX81" fmla="*/ 1773460 w 5402008"/>
                  <a:gd name="connsiteY81" fmla="*/ 5780818 h 5800534"/>
                  <a:gd name="connsiteX82" fmla="*/ 1793177 w 5402008"/>
                  <a:gd name="connsiteY82" fmla="*/ 5800535 h 5800534"/>
                  <a:gd name="connsiteX83" fmla="*/ 1970246 w 5402008"/>
                  <a:gd name="connsiteY83" fmla="*/ 5800535 h 5800534"/>
                  <a:gd name="connsiteX84" fmla="*/ 1989963 w 5402008"/>
                  <a:gd name="connsiteY84" fmla="*/ 5780818 h 5800534"/>
                  <a:gd name="connsiteX85" fmla="*/ 1970246 w 5402008"/>
                  <a:gd name="connsiteY85" fmla="*/ 5761101 h 5800534"/>
                  <a:gd name="connsiteX86" fmla="*/ 1616012 w 5402008"/>
                  <a:gd name="connsiteY86" fmla="*/ 5761101 h 5800534"/>
                  <a:gd name="connsiteX87" fmla="*/ 1438942 w 5402008"/>
                  <a:gd name="connsiteY87" fmla="*/ 5761101 h 5800534"/>
                  <a:gd name="connsiteX88" fmla="*/ 1419225 w 5402008"/>
                  <a:gd name="connsiteY88" fmla="*/ 5780818 h 5800534"/>
                  <a:gd name="connsiteX89" fmla="*/ 1438942 w 5402008"/>
                  <a:gd name="connsiteY89" fmla="*/ 5800535 h 5800534"/>
                  <a:gd name="connsiteX90" fmla="*/ 1616012 w 5402008"/>
                  <a:gd name="connsiteY90" fmla="*/ 5800535 h 5800534"/>
                  <a:gd name="connsiteX91" fmla="*/ 1635728 w 5402008"/>
                  <a:gd name="connsiteY91" fmla="*/ 5780818 h 5800534"/>
                  <a:gd name="connsiteX92" fmla="*/ 1616012 w 5402008"/>
                  <a:gd name="connsiteY92" fmla="*/ 5761101 h 5800534"/>
                  <a:gd name="connsiteX93" fmla="*/ 1856327 w 5402008"/>
                  <a:gd name="connsiteY93" fmla="*/ 19717 h 5800534"/>
                  <a:gd name="connsiteX94" fmla="*/ 1836611 w 5402008"/>
                  <a:gd name="connsiteY94" fmla="*/ 0 h 5800534"/>
                  <a:gd name="connsiteX95" fmla="*/ 1659541 w 5402008"/>
                  <a:gd name="connsiteY95" fmla="*/ 0 h 5800534"/>
                  <a:gd name="connsiteX96" fmla="*/ 1639824 w 5402008"/>
                  <a:gd name="connsiteY96" fmla="*/ 19717 h 5800534"/>
                  <a:gd name="connsiteX97" fmla="*/ 1659541 w 5402008"/>
                  <a:gd name="connsiteY97" fmla="*/ 39434 h 5800534"/>
                  <a:gd name="connsiteX98" fmla="*/ 1836611 w 5402008"/>
                  <a:gd name="connsiteY98" fmla="*/ 39434 h 5800534"/>
                  <a:gd name="connsiteX99" fmla="*/ 1856327 w 5402008"/>
                  <a:gd name="connsiteY99" fmla="*/ 19717 h 5800534"/>
                  <a:gd name="connsiteX100" fmla="*/ 554927 w 5402008"/>
                  <a:gd name="connsiteY100" fmla="*/ 5759482 h 5800534"/>
                  <a:gd name="connsiteX101" fmla="*/ 389096 w 5402008"/>
                  <a:gd name="connsiteY101" fmla="*/ 5720715 h 5800534"/>
                  <a:gd name="connsiteX102" fmla="*/ 363379 w 5402008"/>
                  <a:gd name="connsiteY102" fmla="*/ 5731669 h 5800534"/>
                  <a:gd name="connsiteX103" fmla="*/ 374333 w 5402008"/>
                  <a:gd name="connsiteY103" fmla="*/ 5757386 h 5800534"/>
                  <a:gd name="connsiteX104" fmla="*/ 551974 w 5402008"/>
                  <a:gd name="connsiteY104" fmla="*/ 5798915 h 5800534"/>
                  <a:gd name="connsiteX105" fmla="*/ 553498 w 5402008"/>
                  <a:gd name="connsiteY105" fmla="*/ 5799011 h 5800534"/>
                  <a:gd name="connsiteX106" fmla="*/ 573215 w 5402008"/>
                  <a:gd name="connsiteY106" fmla="*/ 5780723 h 5800534"/>
                  <a:gd name="connsiteX107" fmla="*/ 554927 w 5402008"/>
                  <a:gd name="connsiteY107" fmla="*/ 5759482 h 5800534"/>
                  <a:gd name="connsiteX108" fmla="*/ 19717 w 5402008"/>
                  <a:gd name="connsiteY108" fmla="*/ 2189893 h 5800534"/>
                  <a:gd name="connsiteX109" fmla="*/ 39434 w 5402008"/>
                  <a:gd name="connsiteY109" fmla="*/ 2170176 h 5800534"/>
                  <a:gd name="connsiteX110" fmla="*/ 39434 w 5402008"/>
                  <a:gd name="connsiteY110" fmla="*/ 1993011 h 5800534"/>
                  <a:gd name="connsiteX111" fmla="*/ 19717 w 5402008"/>
                  <a:gd name="connsiteY111" fmla="*/ 1973294 h 5800534"/>
                  <a:gd name="connsiteX112" fmla="*/ 0 w 5402008"/>
                  <a:gd name="connsiteY112" fmla="*/ 1993011 h 5800534"/>
                  <a:gd name="connsiteX113" fmla="*/ 0 w 5402008"/>
                  <a:gd name="connsiteY113" fmla="*/ 2170176 h 5800534"/>
                  <a:gd name="connsiteX114" fmla="*/ 19717 w 5402008"/>
                  <a:gd name="connsiteY114" fmla="*/ 2189893 h 5800534"/>
                  <a:gd name="connsiteX115" fmla="*/ 19717 w 5402008"/>
                  <a:gd name="connsiteY115" fmla="*/ 2544127 h 5800534"/>
                  <a:gd name="connsiteX116" fmla="*/ 39434 w 5402008"/>
                  <a:gd name="connsiteY116" fmla="*/ 2524411 h 5800534"/>
                  <a:gd name="connsiteX117" fmla="*/ 39434 w 5402008"/>
                  <a:gd name="connsiteY117" fmla="*/ 2347341 h 5800534"/>
                  <a:gd name="connsiteX118" fmla="*/ 19717 w 5402008"/>
                  <a:gd name="connsiteY118" fmla="*/ 2327624 h 5800534"/>
                  <a:gd name="connsiteX119" fmla="*/ 0 w 5402008"/>
                  <a:gd name="connsiteY119" fmla="*/ 2347341 h 5800534"/>
                  <a:gd name="connsiteX120" fmla="*/ 0 w 5402008"/>
                  <a:gd name="connsiteY120" fmla="*/ 2524411 h 5800534"/>
                  <a:gd name="connsiteX121" fmla="*/ 19717 w 5402008"/>
                  <a:gd name="connsiteY121" fmla="*/ 2544127 h 5800534"/>
                  <a:gd name="connsiteX122" fmla="*/ 19717 w 5402008"/>
                  <a:gd name="connsiteY122" fmla="*/ 1835658 h 5800534"/>
                  <a:gd name="connsiteX123" fmla="*/ 39434 w 5402008"/>
                  <a:gd name="connsiteY123" fmla="*/ 1815941 h 5800534"/>
                  <a:gd name="connsiteX124" fmla="*/ 39434 w 5402008"/>
                  <a:gd name="connsiteY124" fmla="*/ 1638776 h 5800534"/>
                  <a:gd name="connsiteX125" fmla="*/ 19717 w 5402008"/>
                  <a:gd name="connsiteY125" fmla="*/ 1619060 h 5800534"/>
                  <a:gd name="connsiteX126" fmla="*/ 0 w 5402008"/>
                  <a:gd name="connsiteY126" fmla="*/ 1638776 h 5800534"/>
                  <a:gd name="connsiteX127" fmla="*/ 0 w 5402008"/>
                  <a:gd name="connsiteY127" fmla="*/ 1815941 h 5800534"/>
                  <a:gd name="connsiteX128" fmla="*/ 19717 w 5402008"/>
                  <a:gd name="connsiteY128" fmla="*/ 1835658 h 5800534"/>
                  <a:gd name="connsiteX129" fmla="*/ 19717 w 5402008"/>
                  <a:gd name="connsiteY129" fmla="*/ 772954 h 5800534"/>
                  <a:gd name="connsiteX130" fmla="*/ 39434 w 5402008"/>
                  <a:gd name="connsiteY130" fmla="*/ 753237 h 5800534"/>
                  <a:gd name="connsiteX131" fmla="*/ 39434 w 5402008"/>
                  <a:gd name="connsiteY131" fmla="*/ 597789 h 5800534"/>
                  <a:gd name="connsiteX132" fmla="*/ 39815 w 5402008"/>
                  <a:gd name="connsiteY132" fmla="*/ 576739 h 5800534"/>
                  <a:gd name="connsiteX133" fmla="*/ 20765 w 5402008"/>
                  <a:gd name="connsiteY133" fmla="*/ 556260 h 5800534"/>
                  <a:gd name="connsiteX134" fmla="*/ 286 w 5402008"/>
                  <a:gd name="connsiteY134" fmla="*/ 575310 h 5800534"/>
                  <a:gd name="connsiteX135" fmla="*/ 0 w 5402008"/>
                  <a:gd name="connsiteY135" fmla="*/ 597789 h 5800534"/>
                  <a:gd name="connsiteX136" fmla="*/ 0 w 5402008"/>
                  <a:gd name="connsiteY136" fmla="*/ 753142 h 5800534"/>
                  <a:gd name="connsiteX137" fmla="*/ 19717 w 5402008"/>
                  <a:gd name="connsiteY137" fmla="*/ 772954 h 5800534"/>
                  <a:gd name="connsiteX138" fmla="*/ 19717 w 5402008"/>
                  <a:gd name="connsiteY138" fmla="*/ 1481423 h 5800534"/>
                  <a:gd name="connsiteX139" fmla="*/ 39434 w 5402008"/>
                  <a:gd name="connsiteY139" fmla="*/ 1461707 h 5800534"/>
                  <a:gd name="connsiteX140" fmla="*/ 39434 w 5402008"/>
                  <a:gd name="connsiteY140" fmla="*/ 1284637 h 5800534"/>
                  <a:gd name="connsiteX141" fmla="*/ 19717 w 5402008"/>
                  <a:gd name="connsiteY141" fmla="*/ 1264920 h 5800534"/>
                  <a:gd name="connsiteX142" fmla="*/ 0 w 5402008"/>
                  <a:gd name="connsiteY142" fmla="*/ 1284637 h 5800534"/>
                  <a:gd name="connsiteX143" fmla="*/ 0 w 5402008"/>
                  <a:gd name="connsiteY143" fmla="*/ 1461707 h 5800534"/>
                  <a:gd name="connsiteX144" fmla="*/ 19717 w 5402008"/>
                  <a:gd name="connsiteY144" fmla="*/ 1481423 h 5800534"/>
                  <a:gd name="connsiteX145" fmla="*/ 19717 w 5402008"/>
                  <a:gd name="connsiteY145" fmla="*/ 2898362 h 5800534"/>
                  <a:gd name="connsiteX146" fmla="*/ 39434 w 5402008"/>
                  <a:gd name="connsiteY146" fmla="*/ 2878646 h 5800534"/>
                  <a:gd name="connsiteX147" fmla="*/ 39434 w 5402008"/>
                  <a:gd name="connsiteY147" fmla="*/ 2701481 h 5800534"/>
                  <a:gd name="connsiteX148" fmla="*/ 19717 w 5402008"/>
                  <a:gd name="connsiteY148" fmla="*/ 2681764 h 5800534"/>
                  <a:gd name="connsiteX149" fmla="*/ 0 w 5402008"/>
                  <a:gd name="connsiteY149" fmla="*/ 2701481 h 5800534"/>
                  <a:gd name="connsiteX150" fmla="*/ 0 w 5402008"/>
                  <a:gd name="connsiteY150" fmla="*/ 2878646 h 5800534"/>
                  <a:gd name="connsiteX151" fmla="*/ 19717 w 5402008"/>
                  <a:gd name="connsiteY151" fmla="*/ 2898362 h 5800534"/>
                  <a:gd name="connsiteX152" fmla="*/ 19717 w 5402008"/>
                  <a:gd name="connsiteY152" fmla="*/ 1127189 h 5800534"/>
                  <a:gd name="connsiteX153" fmla="*/ 39434 w 5402008"/>
                  <a:gd name="connsiteY153" fmla="*/ 1107472 h 5800534"/>
                  <a:gd name="connsiteX154" fmla="*/ 39434 w 5402008"/>
                  <a:gd name="connsiteY154" fmla="*/ 930307 h 5800534"/>
                  <a:gd name="connsiteX155" fmla="*/ 19717 w 5402008"/>
                  <a:gd name="connsiteY155" fmla="*/ 910590 h 5800534"/>
                  <a:gd name="connsiteX156" fmla="*/ 0 w 5402008"/>
                  <a:gd name="connsiteY156" fmla="*/ 930307 h 5800534"/>
                  <a:gd name="connsiteX157" fmla="*/ 0 w 5402008"/>
                  <a:gd name="connsiteY157" fmla="*/ 1107472 h 5800534"/>
                  <a:gd name="connsiteX158" fmla="*/ 19717 w 5402008"/>
                  <a:gd name="connsiteY158" fmla="*/ 1127189 h 5800534"/>
                  <a:gd name="connsiteX159" fmla="*/ 19717 w 5402008"/>
                  <a:gd name="connsiteY159" fmla="*/ 3961067 h 5800534"/>
                  <a:gd name="connsiteX160" fmla="*/ 39434 w 5402008"/>
                  <a:gd name="connsiteY160" fmla="*/ 3941350 h 5800534"/>
                  <a:gd name="connsiteX161" fmla="*/ 39434 w 5402008"/>
                  <a:gd name="connsiteY161" fmla="*/ 3764185 h 5800534"/>
                  <a:gd name="connsiteX162" fmla="*/ 19717 w 5402008"/>
                  <a:gd name="connsiteY162" fmla="*/ 3744468 h 5800534"/>
                  <a:gd name="connsiteX163" fmla="*/ 0 w 5402008"/>
                  <a:gd name="connsiteY163" fmla="*/ 3764185 h 5800534"/>
                  <a:gd name="connsiteX164" fmla="*/ 0 w 5402008"/>
                  <a:gd name="connsiteY164" fmla="*/ 3941350 h 5800534"/>
                  <a:gd name="connsiteX165" fmla="*/ 19717 w 5402008"/>
                  <a:gd name="connsiteY165" fmla="*/ 3961067 h 5800534"/>
                  <a:gd name="connsiteX166" fmla="*/ 19717 w 5402008"/>
                  <a:gd name="connsiteY166" fmla="*/ 5023771 h 5800534"/>
                  <a:gd name="connsiteX167" fmla="*/ 39434 w 5402008"/>
                  <a:gd name="connsiteY167" fmla="*/ 5004055 h 5800534"/>
                  <a:gd name="connsiteX168" fmla="*/ 39434 w 5402008"/>
                  <a:gd name="connsiteY168" fmla="*/ 4826889 h 5800534"/>
                  <a:gd name="connsiteX169" fmla="*/ 19717 w 5402008"/>
                  <a:gd name="connsiteY169" fmla="*/ 4807173 h 5800534"/>
                  <a:gd name="connsiteX170" fmla="*/ 0 w 5402008"/>
                  <a:gd name="connsiteY170" fmla="*/ 4826889 h 5800534"/>
                  <a:gd name="connsiteX171" fmla="*/ 0 w 5402008"/>
                  <a:gd name="connsiteY171" fmla="*/ 5004055 h 5800534"/>
                  <a:gd name="connsiteX172" fmla="*/ 19717 w 5402008"/>
                  <a:gd name="connsiteY172" fmla="*/ 5023771 h 5800534"/>
                  <a:gd name="connsiteX173" fmla="*/ 19717 w 5402008"/>
                  <a:gd name="connsiteY173" fmla="*/ 4669536 h 5800534"/>
                  <a:gd name="connsiteX174" fmla="*/ 39434 w 5402008"/>
                  <a:gd name="connsiteY174" fmla="*/ 4649819 h 5800534"/>
                  <a:gd name="connsiteX175" fmla="*/ 39434 w 5402008"/>
                  <a:gd name="connsiteY175" fmla="*/ 4472654 h 5800534"/>
                  <a:gd name="connsiteX176" fmla="*/ 19717 w 5402008"/>
                  <a:gd name="connsiteY176" fmla="*/ 4452938 h 5800534"/>
                  <a:gd name="connsiteX177" fmla="*/ 0 w 5402008"/>
                  <a:gd name="connsiteY177" fmla="*/ 4472654 h 5800534"/>
                  <a:gd name="connsiteX178" fmla="*/ 0 w 5402008"/>
                  <a:gd name="connsiteY178" fmla="*/ 4649819 h 5800534"/>
                  <a:gd name="connsiteX179" fmla="*/ 19717 w 5402008"/>
                  <a:gd name="connsiteY179" fmla="*/ 4669536 h 5800534"/>
                  <a:gd name="connsiteX180" fmla="*/ 39529 w 5402008"/>
                  <a:gd name="connsiteY180" fmla="*/ 5202746 h 5800534"/>
                  <a:gd name="connsiteX181" fmla="*/ 39529 w 5402008"/>
                  <a:gd name="connsiteY181" fmla="*/ 5181124 h 5800534"/>
                  <a:gd name="connsiteX182" fmla="*/ 19812 w 5402008"/>
                  <a:gd name="connsiteY182" fmla="*/ 5161407 h 5800534"/>
                  <a:gd name="connsiteX183" fmla="*/ 95 w 5402008"/>
                  <a:gd name="connsiteY183" fmla="*/ 5181124 h 5800534"/>
                  <a:gd name="connsiteX184" fmla="*/ 95 w 5402008"/>
                  <a:gd name="connsiteY184" fmla="*/ 5202746 h 5800534"/>
                  <a:gd name="connsiteX185" fmla="*/ 21431 w 5402008"/>
                  <a:gd name="connsiteY185" fmla="*/ 5361527 h 5800534"/>
                  <a:gd name="connsiteX186" fmla="*/ 40481 w 5402008"/>
                  <a:gd name="connsiteY186" fmla="*/ 5376101 h 5800534"/>
                  <a:gd name="connsiteX187" fmla="*/ 45720 w 5402008"/>
                  <a:gd name="connsiteY187" fmla="*/ 5375339 h 5800534"/>
                  <a:gd name="connsiteX188" fmla="*/ 59531 w 5402008"/>
                  <a:gd name="connsiteY188" fmla="*/ 5351050 h 5800534"/>
                  <a:gd name="connsiteX189" fmla="*/ 39529 w 5402008"/>
                  <a:gd name="connsiteY189" fmla="*/ 5202746 h 5800534"/>
                  <a:gd name="connsiteX190" fmla="*/ 149638 w 5402008"/>
                  <a:gd name="connsiteY190" fmla="*/ 232124 h 5800534"/>
                  <a:gd name="connsiteX191" fmla="*/ 121920 w 5402008"/>
                  <a:gd name="connsiteY191" fmla="*/ 235934 h 5800534"/>
                  <a:gd name="connsiteX192" fmla="*/ 34862 w 5402008"/>
                  <a:gd name="connsiteY192" fmla="*/ 396240 h 5800534"/>
                  <a:gd name="connsiteX193" fmla="*/ 46768 w 5402008"/>
                  <a:gd name="connsiteY193" fmla="*/ 421481 h 5800534"/>
                  <a:gd name="connsiteX194" fmla="*/ 53435 w 5402008"/>
                  <a:gd name="connsiteY194" fmla="*/ 422624 h 5800534"/>
                  <a:gd name="connsiteX195" fmla="*/ 72009 w 5402008"/>
                  <a:gd name="connsiteY195" fmla="*/ 409480 h 5800534"/>
                  <a:gd name="connsiteX196" fmla="*/ 153353 w 5402008"/>
                  <a:gd name="connsiteY196" fmla="*/ 259842 h 5800534"/>
                  <a:gd name="connsiteX197" fmla="*/ 149638 w 5402008"/>
                  <a:gd name="connsiteY197" fmla="*/ 232124 h 5800534"/>
                  <a:gd name="connsiteX198" fmla="*/ 19717 w 5402008"/>
                  <a:gd name="connsiteY198" fmla="*/ 4315301 h 5800534"/>
                  <a:gd name="connsiteX199" fmla="*/ 39434 w 5402008"/>
                  <a:gd name="connsiteY199" fmla="*/ 4295585 h 5800534"/>
                  <a:gd name="connsiteX200" fmla="*/ 39434 w 5402008"/>
                  <a:gd name="connsiteY200" fmla="*/ 4118515 h 5800534"/>
                  <a:gd name="connsiteX201" fmla="*/ 19717 w 5402008"/>
                  <a:gd name="connsiteY201" fmla="*/ 4098798 h 5800534"/>
                  <a:gd name="connsiteX202" fmla="*/ 0 w 5402008"/>
                  <a:gd name="connsiteY202" fmla="*/ 4118515 h 5800534"/>
                  <a:gd name="connsiteX203" fmla="*/ 0 w 5402008"/>
                  <a:gd name="connsiteY203" fmla="*/ 4295585 h 5800534"/>
                  <a:gd name="connsiteX204" fmla="*/ 19717 w 5402008"/>
                  <a:gd name="connsiteY204" fmla="*/ 4315301 h 5800534"/>
                  <a:gd name="connsiteX205" fmla="*/ 19717 w 5402008"/>
                  <a:gd name="connsiteY205" fmla="*/ 3606832 h 5800534"/>
                  <a:gd name="connsiteX206" fmla="*/ 39434 w 5402008"/>
                  <a:gd name="connsiteY206" fmla="*/ 3587020 h 5800534"/>
                  <a:gd name="connsiteX207" fmla="*/ 39434 w 5402008"/>
                  <a:gd name="connsiteY207" fmla="*/ 3409855 h 5800534"/>
                  <a:gd name="connsiteX208" fmla="*/ 19717 w 5402008"/>
                  <a:gd name="connsiteY208" fmla="*/ 3390138 h 5800534"/>
                  <a:gd name="connsiteX209" fmla="*/ 0 w 5402008"/>
                  <a:gd name="connsiteY209" fmla="*/ 3409855 h 5800534"/>
                  <a:gd name="connsiteX210" fmla="*/ 0 w 5402008"/>
                  <a:gd name="connsiteY210" fmla="*/ 3587020 h 5800534"/>
                  <a:gd name="connsiteX211" fmla="*/ 19717 w 5402008"/>
                  <a:gd name="connsiteY211" fmla="*/ 3606832 h 5800534"/>
                  <a:gd name="connsiteX212" fmla="*/ 19717 w 5402008"/>
                  <a:gd name="connsiteY212" fmla="*/ 3252597 h 5800534"/>
                  <a:gd name="connsiteX213" fmla="*/ 39434 w 5402008"/>
                  <a:gd name="connsiteY213" fmla="*/ 3232881 h 5800534"/>
                  <a:gd name="connsiteX214" fmla="*/ 39434 w 5402008"/>
                  <a:gd name="connsiteY214" fmla="*/ 3055715 h 5800534"/>
                  <a:gd name="connsiteX215" fmla="*/ 19717 w 5402008"/>
                  <a:gd name="connsiteY215" fmla="*/ 3035999 h 5800534"/>
                  <a:gd name="connsiteX216" fmla="*/ 0 w 5402008"/>
                  <a:gd name="connsiteY216" fmla="*/ 3055715 h 5800534"/>
                  <a:gd name="connsiteX217" fmla="*/ 0 w 5402008"/>
                  <a:gd name="connsiteY217" fmla="*/ 3232881 h 5800534"/>
                  <a:gd name="connsiteX218" fmla="*/ 19717 w 5402008"/>
                  <a:gd name="connsiteY218" fmla="*/ 3252597 h 5800534"/>
                  <a:gd name="connsiteX219" fmla="*/ 5382292 w 5402008"/>
                  <a:gd name="connsiteY219" fmla="*/ 3609594 h 5800534"/>
                  <a:gd name="connsiteX220" fmla="*/ 5362575 w 5402008"/>
                  <a:gd name="connsiteY220" fmla="*/ 3629311 h 5800534"/>
                  <a:gd name="connsiteX221" fmla="*/ 5362575 w 5402008"/>
                  <a:gd name="connsiteY221" fmla="*/ 3806381 h 5800534"/>
                  <a:gd name="connsiteX222" fmla="*/ 5382292 w 5402008"/>
                  <a:gd name="connsiteY222" fmla="*/ 3826098 h 5800534"/>
                  <a:gd name="connsiteX223" fmla="*/ 5402009 w 5402008"/>
                  <a:gd name="connsiteY223" fmla="*/ 3806381 h 5800534"/>
                  <a:gd name="connsiteX224" fmla="*/ 5402009 w 5402008"/>
                  <a:gd name="connsiteY224" fmla="*/ 3629311 h 5800534"/>
                  <a:gd name="connsiteX225" fmla="*/ 5382292 w 5402008"/>
                  <a:gd name="connsiteY225" fmla="*/ 3609594 h 5800534"/>
                  <a:gd name="connsiteX226" fmla="*/ 2919032 w 5402008"/>
                  <a:gd name="connsiteY226" fmla="*/ 19717 h 5800534"/>
                  <a:gd name="connsiteX227" fmla="*/ 2899315 w 5402008"/>
                  <a:gd name="connsiteY227" fmla="*/ 0 h 5800534"/>
                  <a:gd name="connsiteX228" fmla="*/ 2722245 w 5402008"/>
                  <a:gd name="connsiteY228" fmla="*/ 0 h 5800534"/>
                  <a:gd name="connsiteX229" fmla="*/ 2702528 w 5402008"/>
                  <a:gd name="connsiteY229" fmla="*/ 19717 h 5800534"/>
                  <a:gd name="connsiteX230" fmla="*/ 2722245 w 5402008"/>
                  <a:gd name="connsiteY230" fmla="*/ 39434 h 5800534"/>
                  <a:gd name="connsiteX231" fmla="*/ 2899315 w 5402008"/>
                  <a:gd name="connsiteY231" fmla="*/ 39434 h 5800534"/>
                  <a:gd name="connsiteX232" fmla="*/ 2919032 w 5402008"/>
                  <a:gd name="connsiteY232" fmla="*/ 19717 h 5800534"/>
                  <a:gd name="connsiteX233" fmla="*/ 5382292 w 5402008"/>
                  <a:gd name="connsiteY233" fmla="*/ 3963829 h 5800534"/>
                  <a:gd name="connsiteX234" fmla="*/ 5362575 w 5402008"/>
                  <a:gd name="connsiteY234" fmla="*/ 3983546 h 5800534"/>
                  <a:gd name="connsiteX235" fmla="*/ 5362575 w 5402008"/>
                  <a:gd name="connsiteY235" fmla="*/ 4160711 h 5800534"/>
                  <a:gd name="connsiteX236" fmla="*/ 5382292 w 5402008"/>
                  <a:gd name="connsiteY236" fmla="*/ 4180427 h 5800534"/>
                  <a:gd name="connsiteX237" fmla="*/ 5402009 w 5402008"/>
                  <a:gd name="connsiteY237" fmla="*/ 4160711 h 5800534"/>
                  <a:gd name="connsiteX238" fmla="*/ 5402009 w 5402008"/>
                  <a:gd name="connsiteY238" fmla="*/ 3983546 h 5800534"/>
                  <a:gd name="connsiteX239" fmla="*/ 5382292 w 5402008"/>
                  <a:gd name="connsiteY239" fmla="*/ 3963829 h 5800534"/>
                  <a:gd name="connsiteX240" fmla="*/ 5382292 w 5402008"/>
                  <a:gd name="connsiteY240" fmla="*/ 4318064 h 5800534"/>
                  <a:gd name="connsiteX241" fmla="*/ 5362575 w 5402008"/>
                  <a:gd name="connsiteY241" fmla="*/ 4337781 h 5800534"/>
                  <a:gd name="connsiteX242" fmla="*/ 5362575 w 5402008"/>
                  <a:gd name="connsiteY242" fmla="*/ 4514945 h 5800534"/>
                  <a:gd name="connsiteX243" fmla="*/ 5382292 w 5402008"/>
                  <a:gd name="connsiteY243" fmla="*/ 4534662 h 5800534"/>
                  <a:gd name="connsiteX244" fmla="*/ 5402009 w 5402008"/>
                  <a:gd name="connsiteY244" fmla="*/ 4514945 h 5800534"/>
                  <a:gd name="connsiteX245" fmla="*/ 5402009 w 5402008"/>
                  <a:gd name="connsiteY245" fmla="*/ 4337781 h 5800534"/>
                  <a:gd name="connsiteX246" fmla="*/ 5382292 w 5402008"/>
                  <a:gd name="connsiteY246" fmla="*/ 4318064 h 5800534"/>
                  <a:gd name="connsiteX247" fmla="*/ 5382292 w 5402008"/>
                  <a:gd name="connsiteY247" fmla="*/ 5026533 h 5800534"/>
                  <a:gd name="connsiteX248" fmla="*/ 5362575 w 5402008"/>
                  <a:gd name="connsiteY248" fmla="*/ 5046250 h 5800534"/>
                  <a:gd name="connsiteX249" fmla="*/ 5362575 w 5402008"/>
                  <a:gd name="connsiteY249" fmla="*/ 5202746 h 5800534"/>
                  <a:gd name="connsiteX250" fmla="*/ 5362194 w 5402008"/>
                  <a:gd name="connsiteY250" fmla="*/ 5222748 h 5800534"/>
                  <a:gd name="connsiteX251" fmla="*/ 5381244 w 5402008"/>
                  <a:gd name="connsiteY251" fmla="*/ 5243227 h 5800534"/>
                  <a:gd name="connsiteX252" fmla="*/ 5381911 w 5402008"/>
                  <a:gd name="connsiteY252" fmla="*/ 5243227 h 5800534"/>
                  <a:gd name="connsiteX253" fmla="*/ 5401628 w 5402008"/>
                  <a:gd name="connsiteY253" fmla="*/ 5224177 h 5800534"/>
                  <a:gd name="connsiteX254" fmla="*/ 5402009 w 5402008"/>
                  <a:gd name="connsiteY254" fmla="*/ 5202841 h 5800534"/>
                  <a:gd name="connsiteX255" fmla="*/ 5402009 w 5402008"/>
                  <a:gd name="connsiteY255" fmla="*/ 5046346 h 5800534"/>
                  <a:gd name="connsiteX256" fmla="*/ 5382292 w 5402008"/>
                  <a:gd name="connsiteY256" fmla="*/ 5026533 h 5800534"/>
                  <a:gd name="connsiteX257" fmla="*/ 5382292 w 5402008"/>
                  <a:gd name="connsiteY257" fmla="*/ 4672299 h 5800534"/>
                  <a:gd name="connsiteX258" fmla="*/ 5362575 w 5402008"/>
                  <a:gd name="connsiteY258" fmla="*/ 4692015 h 5800534"/>
                  <a:gd name="connsiteX259" fmla="*/ 5362575 w 5402008"/>
                  <a:gd name="connsiteY259" fmla="*/ 4869085 h 5800534"/>
                  <a:gd name="connsiteX260" fmla="*/ 5382292 w 5402008"/>
                  <a:gd name="connsiteY260" fmla="*/ 4888802 h 5800534"/>
                  <a:gd name="connsiteX261" fmla="*/ 5402009 w 5402008"/>
                  <a:gd name="connsiteY261" fmla="*/ 4869085 h 5800534"/>
                  <a:gd name="connsiteX262" fmla="*/ 5402009 w 5402008"/>
                  <a:gd name="connsiteY262" fmla="*/ 4692015 h 5800534"/>
                  <a:gd name="connsiteX263" fmla="*/ 5382292 w 5402008"/>
                  <a:gd name="connsiteY263" fmla="*/ 4672299 h 5800534"/>
                  <a:gd name="connsiteX264" fmla="*/ 5382292 w 5402008"/>
                  <a:gd name="connsiteY264" fmla="*/ 2901125 h 5800534"/>
                  <a:gd name="connsiteX265" fmla="*/ 5362575 w 5402008"/>
                  <a:gd name="connsiteY265" fmla="*/ 2920841 h 5800534"/>
                  <a:gd name="connsiteX266" fmla="*/ 5362575 w 5402008"/>
                  <a:gd name="connsiteY266" fmla="*/ 3097911 h 5800534"/>
                  <a:gd name="connsiteX267" fmla="*/ 5382292 w 5402008"/>
                  <a:gd name="connsiteY267" fmla="*/ 3117628 h 5800534"/>
                  <a:gd name="connsiteX268" fmla="*/ 5402009 w 5402008"/>
                  <a:gd name="connsiteY268" fmla="*/ 3097911 h 5800534"/>
                  <a:gd name="connsiteX269" fmla="*/ 5402009 w 5402008"/>
                  <a:gd name="connsiteY269" fmla="*/ 2920841 h 5800534"/>
                  <a:gd name="connsiteX270" fmla="*/ 5382292 w 5402008"/>
                  <a:gd name="connsiteY270" fmla="*/ 2901125 h 5800534"/>
                  <a:gd name="connsiteX271" fmla="*/ 5382292 w 5402008"/>
                  <a:gd name="connsiteY271" fmla="*/ 2546890 h 5800534"/>
                  <a:gd name="connsiteX272" fmla="*/ 5362575 w 5402008"/>
                  <a:gd name="connsiteY272" fmla="*/ 2566607 h 5800534"/>
                  <a:gd name="connsiteX273" fmla="*/ 5362575 w 5402008"/>
                  <a:gd name="connsiteY273" fmla="*/ 2743772 h 5800534"/>
                  <a:gd name="connsiteX274" fmla="*/ 5382292 w 5402008"/>
                  <a:gd name="connsiteY274" fmla="*/ 2763488 h 5800534"/>
                  <a:gd name="connsiteX275" fmla="*/ 5402009 w 5402008"/>
                  <a:gd name="connsiteY275" fmla="*/ 2743772 h 5800534"/>
                  <a:gd name="connsiteX276" fmla="*/ 5402009 w 5402008"/>
                  <a:gd name="connsiteY276" fmla="*/ 2566607 h 5800534"/>
                  <a:gd name="connsiteX277" fmla="*/ 5382292 w 5402008"/>
                  <a:gd name="connsiteY277" fmla="*/ 2546890 h 5800534"/>
                  <a:gd name="connsiteX278" fmla="*/ 5382292 w 5402008"/>
                  <a:gd name="connsiteY278" fmla="*/ 1129951 h 5800534"/>
                  <a:gd name="connsiteX279" fmla="*/ 5362575 w 5402008"/>
                  <a:gd name="connsiteY279" fmla="*/ 1149668 h 5800534"/>
                  <a:gd name="connsiteX280" fmla="*/ 5362575 w 5402008"/>
                  <a:gd name="connsiteY280" fmla="*/ 1326833 h 5800534"/>
                  <a:gd name="connsiteX281" fmla="*/ 5382292 w 5402008"/>
                  <a:gd name="connsiteY281" fmla="*/ 1346549 h 5800534"/>
                  <a:gd name="connsiteX282" fmla="*/ 5402009 w 5402008"/>
                  <a:gd name="connsiteY282" fmla="*/ 1326833 h 5800534"/>
                  <a:gd name="connsiteX283" fmla="*/ 5402009 w 5402008"/>
                  <a:gd name="connsiteY283" fmla="*/ 1149668 h 5800534"/>
                  <a:gd name="connsiteX284" fmla="*/ 5382292 w 5402008"/>
                  <a:gd name="connsiteY284" fmla="*/ 1129951 h 5800534"/>
                  <a:gd name="connsiteX285" fmla="*/ 5382292 w 5402008"/>
                  <a:gd name="connsiteY285" fmla="*/ 775716 h 5800534"/>
                  <a:gd name="connsiteX286" fmla="*/ 5362575 w 5402008"/>
                  <a:gd name="connsiteY286" fmla="*/ 795433 h 5800534"/>
                  <a:gd name="connsiteX287" fmla="*/ 5362575 w 5402008"/>
                  <a:gd name="connsiteY287" fmla="*/ 972503 h 5800534"/>
                  <a:gd name="connsiteX288" fmla="*/ 5382292 w 5402008"/>
                  <a:gd name="connsiteY288" fmla="*/ 992219 h 5800534"/>
                  <a:gd name="connsiteX289" fmla="*/ 5402009 w 5402008"/>
                  <a:gd name="connsiteY289" fmla="*/ 972503 h 5800534"/>
                  <a:gd name="connsiteX290" fmla="*/ 5402009 w 5402008"/>
                  <a:gd name="connsiteY290" fmla="*/ 795528 h 5800534"/>
                  <a:gd name="connsiteX291" fmla="*/ 5382292 w 5402008"/>
                  <a:gd name="connsiteY291" fmla="*/ 775716 h 5800534"/>
                  <a:gd name="connsiteX292" fmla="*/ 5380387 w 5402008"/>
                  <a:gd name="connsiteY292" fmla="*/ 437960 h 5800534"/>
                  <a:gd name="connsiteX293" fmla="*/ 5356098 w 5402008"/>
                  <a:gd name="connsiteY293" fmla="*/ 424148 h 5800534"/>
                  <a:gd name="connsiteX294" fmla="*/ 5342287 w 5402008"/>
                  <a:gd name="connsiteY294" fmla="*/ 448437 h 5800534"/>
                  <a:gd name="connsiteX295" fmla="*/ 5362480 w 5402008"/>
                  <a:gd name="connsiteY295" fmla="*/ 597789 h 5800534"/>
                  <a:gd name="connsiteX296" fmla="*/ 5362480 w 5402008"/>
                  <a:gd name="connsiteY296" fmla="*/ 618363 h 5800534"/>
                  <a:gd name="connsiteX297" fmla="*/ 5382197 w 5402008"/>
                  <a:gd name="connsiteY297" fmla="*/ 638080 h 5800534"/>
                  <a:gd name="connsiteX298" fmla="*/ 5401914 w 5402008"/>
                  <a:gd name="connsiteY298" fmla="*/ 618363 h 5800534"/>
                  <a:gd name="connsiteX299" fmla="*/ 5401914 w 5402008"/>
                  <a:gd name="connsiteY299" fmla="*/ 597789 h 5800534"/>
                  <a:gd name="connsiteX300" fmla="*/ 5380387 w 5402008"/>
                  <a:gd name="connsiteY300" fmla="*/ 437960 h 5800534"/>
                  <a:gd name="connsiteX301" fmla="*/ 5382292 w 5402008"/>
                  <a:gd name="connsiteY301" fmla="*/ 2192655 h 5800534"/>
                  <a:gd name="connsiteX302" fmla="*/ 5362575 w 5402008"/>
                  <a:gd name="connsiteY302" fmla="*/ 2212372 h 5800534"/>
                  <a:gd name="connsiteX303" fmla="*/ 5362575 w 5402008"/>
                  <a:gd name="connsiteY303" fmla="*/ 2389537 h 5800534"/>
                  <a:gd name="connsiteX304" fmla="*/ 5382292 w 5402008"/>
                  <a:gd name="connsiteY304" fmla="*/ 2409254 h 5800534"/>
                  <a:gd name="connsiteX305" fmla="*/ 5402009 w 5402008"/>
                  <a:gd name="connsiteY305" fmla="*/ 2389537 h 5800534"/>
                  <a:gd name="connsiteX306" fmla="*/ 5402009 w 5402008"/>
                  <a:gd name="connsiteY306" fmla="*/ 2212372 h 5800534"/>
                  <a:gd name="connsiteX307" fmla="*/ 5382292 w 5402008"/>
                  <a:gd name="connsiteY307" fmla="*/ 2192655 h 5800534"/>
                  <a:gd name="connsiteX308" fmla="*/ 5355622 w 5402008"/>
                  <a:gd name="connsiteY308" fmla="*/ 5378101 h 5800534"/>
                  <a:gd name="connsiteX309" fmla="*/ 5330381 w 5402008"/>
                  <a:gd name="connsiteY309" fmla="*/ 5390102 h 5800534"/>
                  <a:gd name="connsiteX310" fmla="*/ 5249323 w 5402008"/>
                  <a:gd name="connsiteY310" fmla="*/ 5539931 h 5800534"/>
                  <a:gd name="connsiteX311" fmla="*/ 5253133 w 5402008"/>
                  <a:gd name="connsiteY311" fmla="*/ 5567649 h 5800534"/>
                  <a:gd name="connsiteX312" fmla="*/ 5265039 w 5402008"/>
                  <a:gd name="connsiteY312" fmla="*/ 5571649 h 5800534"/>
                  <a:gd name="connsiteX313" fmla="*/ 5280755 w 5402008"/>
                  <a:gd name="connsiteY313" fmla="*/ 5563838 h 5800534"/>
                  <a:gd name="connsiteX314" fmla="*/ 5367528 w 5402008"/>
                  <a:gd name="connsiteY314" fmla="*/ 5403342 h 5800534"/>
                  <a:gd name="connsiteX315" fmla="*/ 5355622 w 5402008"/>
                  <a:gd name="connsiteY315" fmla="*/ 5378101 h 5800534"/>
                  <a:gd name="connsiteX316" fmla="*/ 5382292 w 5402008"/>
                  <a:gd name="connsiteY316" fmla="*/ 1838420 h 5800534"/>
                  <a:gd name="connsiteX317" fmla="*/ 5362575 w 5402008"/>
                  <a:gd name="connsiteY317" fmla="*/ 1858137 h 5800534"/>
                  <a:gd name="connsiteX318" fmla="*/ 5362575 w 5402008"/>
                  <a:gd name="connsiteY318" fmla="*/ 2035207 h 5800534"/>
                  <a:gd name="connsiteX319" fmla="*/ 5382292 w 5402008"/>
                  <a:gd name="connsiteY319" fmla="*/ 2054924 h 5800534"/>
                  <a:gd name="connsiteX320" fmla="*/ 5402009 w 5402008"/>
                  <a:gd name="connsiteY320" fmla="*/ 2035207 h 5800534"/>
                  <a:gd name="connsiteX321" fmla="*/ 5402009 w 5402008"/>
                  <a:gd name="connsiteY321" fmla="*/ 1858137 h 5800534"/>
                  <a:gd name="connsiteX322" fmla="*/ 5382292 w 5402008"/>
                  <a:gd name="connsiteY322" fmla="*/ 1838420 h 5800534"/>
                  <a:gd name="connsiteX323" fmla="*/ 5382292 w 5402008"/>
                  <a:gd name="connsiteY323" fmla="*/ 1484186 h 5800534"/>
                  <a:gd name="connsiteX324" fmla="*/ 5362575 w 5402008"/>
                  <a:gd name="connsiteY324" fmla="*/ 1503902 h 5800534"/>
                  <a:gd name="connsiteX325" fmla="*/ 5362575 w 5402008"/>
                  <a:gd name="connsiteY325" fmla="*/ 1681067 h 5800534"/>
                  <a:gd name="connsiteX326" fmla="*/ 5382292 w 5402008"/>
                  <a:gd name="connsiteY326" fmla="*/ 1700784 h 5800534"/>
                  <a:gd name="connsiteX327" fmla="*/ 5402009 w 5402008"/>
                  <a:gd name="connsiteY327" fmla="*/ 1681067 h 5800534"/>
                  <a:gd name="connsiteX328" fmla="*/ 5402009 w 5402008"/>
                  <a:gd name="connsiteY328" fmla="*/ 1503902 h 5800534"/>
                  <a:gd name="connsiteX329" fmla="*/ 5382292 w 5402008"/>
                  <a:gd name="connsiteY329" fmla="*/ 1484186 h 5800534"/>
                  <a:gd name="connsiteX330" fmla="*/ 5382292 w 5402008"/>
                  <a:gd name="connsiteY330" fmla="*/ 3255359 h 5800534"/>
                  <a:gd name="connsiteX331" fmla="*/ 5362575 w 5402008"/>
                  <a:gd name="connsiteY331" fmla="*/ 3275076 h 5800534"/>
                  <a:gd name="connsiteX332" fmla="*/ 5362575 w 5402008"/>
                  <a:gd name="connsiteY332" fmla="*/ 3452241 h 5800534"/>
                  <a:gd name="connsiteX333" fmla="*/ 5382292 w 5402008"/>
                  <a:gd name="connsiteY333" fmla="*/ 3471958 h 5800534"/>
                  <a:gd name="connsiteX334" fmla="*/ 5402009 w 5402008"/>
                  <a:gd name="connsiteY334" fmla="*/ 3452241 h 5800534"/>
                  <a:gd name="connsiteX335" fmla="*/ 5402009 w 5402008"/>
                  <a:gd name="connsiteY335" fmla="*/ 3275076 h 5800534"/>
                  <a:gd name="connsiteX336" fmla="*/ 5382292 w 5402008"/>
                  <a:gd name="connsiteY336" fmla="*/ 3255359 h 5800534"/>
                  <a:gd name="connsiteX337" fmla="*/ 5288756 w 5402008"/>
                  <a:gd name="connsiteY337" fmla="*/ 302228 h 5800534"/>
                  <a:gd name="connsiteX338" fmla="*/ 5299520 w 5402008"/>
                  <a:gd name="connsiteY338" fmla="*/ 298990 h 5800534"/>
                  <a:gd name="connsiteX339" fmla="*/ 5305235 w 5402008"/>
                  <a:gd name="connsiteY339" fmla="*/ 271653 h 5800534"/>
                  <a:gd name="connsiteX340" fmla="*/ 5183505 w 5402008"/>
                  <a:gd name="connsiteY340" fmla="*/ 135827 h 5800534"/>
                  <a:gd name="connsiteX341" fmla="*/ 5155693 w 5402008"/>
                  <a:gd name="connsiteY341" fmla="*/ 138589 h 5800534"/>
                  <a:gd name="connsiteX342" fmla="*/ 5158455 w 5402008"/>
                  <a:gd name="connsiteY342" fmla="*/ 166402 h 5800534"/>
                  <a:gd name="connsiteX343" fmla="*/ 5272088 w 5402008"/>
                  <a:gd name="connsiteY343" fmla="*/ 293370 h 5800534"/>
                  <a:gd name="connsiteX344" fmla="*/ 5288756 w 5402008"/>
                  <a:gd name="connsiteY344" fmla="*/ 302228 h 5800534"/>
                  <a:gd name="connsiteX345" fmla="*/ 3627501 w 5402008"/>
                  <a:gd name="connsiteY345" fmla="*/ 19717 h 5800534"/>
                  <a:gd name="connsiteX346" fmla="*/ 3607784 w 5402008"/>
                  <a:gd name="connsiteY346" fmla="*/ 0 h 5800534"/>
                  <a:gd name="connsiteX347" fmla="*/ 3430715 w 5402008"/>
                  <a:gd name="connsiteY347" fmla="*/ 0 h 5800534"/>
                  <a:gd name="connsiteX348" fmla="*/ 3410998 w 5402008"/>
                  <a:gd name="connsiteY348" fmla="*/ 19717 h 5800534"/>
                  <a:gd name="connsiteX349" fmla="*/ 3430715 w 5402008"/>
                  <a:gd name="connsiteY349" fmla="*/ 39434 h 5800534"/>
                  <a:gd name="connsiteX350" fmla="*/ 3607784 w 5402008"/>
                  <a:gd name="connsiteY350" fmla="*/ 39434 h 5800534"/>
                  <a:gd name="connsiteX351" fmla="*/ 3627501 w 5402008"/>
                  <a:gd name="connsiteY351" fmla="*/ 19717 h 5800534"/>
                  <a:gd name="connsiteX352" fmla="*/ 3981736 w 5402008"/>
                  <a:gd name="connsiteY352" fmla="*/ 19717 h 5800534"/>
                  <a:gd name="connsiteX353" fmla="*/ 3962019 w 5402008"/>
                  <a:gd name="connsiteY353" fmla="*/ 0 h 5800534"/>
                  <a:gd name="connsiteX354" fmla="*/ 3784854 w 5402008"/>
                  <a:gd name="connsiteY354" fmla="*/ 0 h 5800534"/>
                  <a:gd name="connsiteX355" fmla="*/ 3765137 w 5402008"/>
                  <a:gd name="connsiteY355" fmla="*/ 19717 h 5800534"/>
                  <a:gd name="connsiteX356" fmla="*/ 3784854 w 5402008"/>
                  <a:gd name="connsiteY356" fmla="*/ 39434 h 5800534"/>
                  <a:gd name="connsiteX357" fmla="*/ 3962019 w 5402008"/>
                  <a:gd name="connsiteY357" fmla="*/ 39434 h 5800534"/>
                  <a:gd name="connsiteX358" fmla="*/ 3981736 w 5402008"/>
                  <a:gd name="connsiteY358" fmla="*/ 19717 h 5800534"/>
                  <a:gd name="connsiteX359" fmla="*/ 3741420 w 5402008"/>
                  <a:gd name="connsiteY359" fmla="*/ 5761101 h 5800534"/>
                  <a:gd name="connsiteX360" fmla="*/ 3564255 w 5402008"/>
                  <a:gd name="connsiteY360" fmla="*/ 5761101 h 5800534"/>
                  <a:gd name="connsiteX361" fmla="*/ 3544538 w 5402008"/>
                  <a:gd name="connsiteY361" fmla="*/ 5780818 h 5800534"/>
                  <a:gd name="connsiteX362" fmla="*/ 3564255 w 5402008"/>
                  <a:gd name="connsiteY362" fmla="*/ 5800535 h 5800534"/>
                  <a:gd name="connsiteX363" fmla="*/ 3741420 w 5402008"/>
                  <a:gd name="connsiteY363" fmla="*/ 5800535 h 5800534"/>
                  <a:gd name="connsiteX364" fmla="*/ 3761137 w 5402008"/>
                  <a:gd name="connsiteY364" fmla="*/ 5780818 h 5800534"/>
                  <a:gd name="connsiteX365" fmla="*/ 3741420 w 5402008"/>
                  <a:gd name="connsiteY365" fmla="*/ 5761101 h 5800534"/>
                  <a:gd name="connsiteX366" fmla="*/ 3032951 w 5402008"/>
                  <a:gd name="connsiteY366" fmla="*/ 5761101 h 5800534"/>
                  <a:gd name="connsiteX367" fmla="*/ 2855881 w 5402008"/>
                  <a:gd name="connsiteY367" fmla="*/ 5761101 h 5800534"/>
                  <a:gd name="connsiteX368" fmla="*/ 2836164 w 5402008"/>
                  <a:gd name="connsiteY368" fmla="*/ 5780818 h 5800534"/>
                  <a:gd name="connsiteX369" fmla="*/ 2855881 w 5402008"/>
                  <a:gd name="connsiteY369" fmla="*/ 5800535 h 5800534"/>
                  <a:gd name="connsiteX370" fmla="*/ 3032951 w 5402008"/>
                  <a:gd name="connsiteY370" fmla="*/ 5800535 h 5800534"/>
                  <a:gd name="connsiteX371" fmla="*/ 3052667 w 5402008"/>
                  <a:gd name="connsiteY371" fmla="*/ 5780818 h 5800534"/>
                  <a:gd name="connsiteX372" fmla="*/ 3032951 w 5402008"/>
                  <a:gd name="connsiteY372" fmla="*/ 5761101 h 5800534"/>
                  <a:gd name="connsiteX373" fmla="*/ 3387185 w 5402008"/>
                  <a:gd name="connsiteY373" fmla="*/ 5761101 h 5800534"/>
                  <a:gd name="connsiteX374" fmla="*/ 3210116 w 5402008"/>
                  <a:gd name="connsiteY374" fmla="*/ 5761101 h 5800534"/>
                  <a:gd name="connsiteX375" fmla="*/ 3190399 w 5402008"/>
                  <a:gd name="connsiteY375" fmla="*/ 5780818 h 5800534"/>
                  <a:gd name="connsiteX376" fmla="*/ 3210116 w 5402008"/>
                  <a:gd name="connsiteY376" fmla="*/ 5800535 h 5800534"/>
                  <a:gd name="connsiteX377" fmla="*/ 3387185 w 5402008"/>
                  <a:gd name="connsiteY377" fmla="*/ 5800535 h 5800534"/>
                  <a:gd name="connsiteX378" fmla="*/ 3406902 w 5402008"/>
                  <a:gd name="connsiteY378" fmla="*/ 5780818 h 5800534"/>
                  <a:gd name="connsiteX379" fmla="*/ 3387185 w 5402008"/>
                  <a:gd name="connsiteY379" fmla="*/ 5761101 h 5800534"/>
                  <a:gd name="connsiteX380" fmla="*/ 3273266 w 5402008"/>
                  <a:gd name="connsiteY380" fmla="*/ 19717 h 5800534"/>
                  <a:gd name="connsiteX381" fmla="*/ 3253549 w 5402008"/>
                  <a:gd name="connsiteY381" fmla="*/ 0 h 5800534"/>
                  <a:gd name="connsiteX382" fmla="*/ 3076480 w 5402008"/>
                  <a:gd name="connsiteY382" fmla="*/ 0 h 5800534"/>
                  <a:gd name="connsiteX383" fmla="*/ 3056763 w 5402008"/>
                  <a:gd name="connsiteY383" fmla="*/ 19717 h 5800534"/>
                  <a:gd name="connsiteX384" fmla="*/ 3076480 w 5402008"/>
                  <a:gd name="connsiteY384" fmla="*/ 39434 h 5800534"/>
                  <a:gd name="connsiteX385" fmla="*/ 3253549 w 5402008"/>
                  <a:gd name="connsiteY385" fmla="*/ 39434 h 5800534"/>
                  <a:gd name="connsiteX386" fmla="*/ 3273266 w 5402008"/>
                  <a:gd name="connsiteY386" fmla="*/ 19717 h 5800534"/>
                  <a:gd name="connsiteX387" fmla="*/ 4095655 w 5402008"/>
                  <a:gd name="connsiteY387" fmla="*/ 5761101 h 5800534"/>
                  <a:gd name="connsiteX388" fmla="*/ 3918490 w 5402008"/>
                  <a:gd name="connsiteY388" fmla="*/ 5761101 h 5800534"/>
                  <a:gd name="connsiteX389" fmla="*/ 3898773 w 5402008"/>
                  <a:gd name="connsiteY389" fmla="*/ 5780818 h 5800534"/>
                  <a:gd name="connsiteX390" fmla="*/ 3918490 w 5402008"/>
                  <a:gd name="connsiteY390" fmla="*/ 5800535 h 5800534"/>
                  <a:gd name="connsiteX391" fmla="*/ 4095655 w 5402008"/>
                  <a:gd name="connsiteY391" fmla="*/ 5800535 h 5800534"/>
                  <a:gd name="connsiteX392" fmla="*/ 4115372 w 5402008"/>
                  <a:gd name="connsiteY392" fmla="*/ 5780818 h 5800534"/>
                  <a:gd name="connsiteX393" fmla="*/ 4095655 w 5402008"/>
                  <a:gd name="connsiteY393" fmla="*/ 5761101 h 5800534"/>
                  <a:gd name="connsiteX394" fmla="*/ 5019389 w 5402008"/>
                  <a:gd name="connsiteY394" fmla="*/ 80867 h 5800534"/>
                  <a:gd name="connsiteX395" fmla="*/ 5037773 w 5402008"/>
                  <a:gd name="connsiteY395" fmla="*/ 68485 h 5800534"/>
                  <a:gd name="connsiteX396" fmla="*/ 5026819 w 5402008"/>
                  <a:gd name="connsiteY396" fmla="*/ 42767 h 5800534"/>
                  <a:gd name="connsiteX397" fmla="*/ 4849082 w 5402008"/>
                  <a:gd name="connsiteY397" fmla="*/ 1619 h 5800534"/>
                  <a:gd name="connsiteX398" fmla="*/ 4827937 w 5402008"/>
                  <a:gd name="connsiteY398" fmla="*/ 19907 h 5800534"/>
                  <a:gd name="connsiteX399" fmla="*/ 4846225 w 5402008"/>
                  <a:gd name="connsiteY399" fmla="*/ 41053 h 5800534"/>
                  <a:gd name="connsiteX400" fmla="*/ 5012151 w 5402008"/>
                  <a:gd name="connsiteY400" fmla="*/ 79439 h 5800534"/>
                  <a:gd name="connsiteX401" fmla="*/ 5019389 w 5402008"/>
                  <a:gd name="connsiteY401" fmla="*/ 80867 h 5800534"/>
                  <a:gd name="connsiteX402" fmla="*/ 4806410 w 5402008"/>
                  <a:gd name="connsiteY402" fmla="*/ 5761101 h 5800534"/>
                  <a:gd name="connsiteX403" fmla="*/ 4627055 w 5402008"/>
                  <a:gd name="connsiteY403" fmla="*/ 5761101 h 5800534"/>
                  <a:gd name="connsiteX404" fmla="*/ 4607338 w 5402008"/>
                  <a:gd name="connsiteY404" fmla="*/ 5780818 h 5800534"/>
                  <a:gd name="connsiteX405" fmla="*/ 4627055 w 5402008"/>
                  <a:gd name="connsiteY405" fmla="*/ 5800535 h 5800534"/>
                  <a:gd name="connsiteX406" fmla="*/ 4804410 w 5402008"/>
                  <a:gd name="connsiteY406" fmla="*/ 5800535 h 5800534"/>
                  <a:gd name="connsiteX407" fmla="*/ 4806315 w 5402008"/>
                  <a:gd name="connsiteY407" fmla="*/ 5800535 h 5800534"/>
                  <a:gd name="connsiteX408" fmla="*/ 4826032 w 5402008"/>
                  <a:gd name="connsiteY408" fmla="*/ 5780818 h 5800534"/>
                  <a:gd name="connsiteX409" fmla="*/ 4806410 w 5402008"/>
                  <a:gd name="connsiteY409" fmla="*/ 5761101 h 5800534"/>
                  <a:gd name="connsiteX410" fmla="*/ 4335971 w 5402008"/>
                  <a:gd name="connsiteY410" fmla="*/ 19717 h 5800534"/>
                  <a:gd name="connsiteX411" fmla="*/ 4316254 w 5402008"/>
                  <a:gd name="connsiteY411" fmla="*/ 0 h 5800534"/>
                  <a:gd name="connsiteX412" fmla="*/ 4139184 w 5402008"/>
                  <a:gd name="connsiteY412" fmla="*/ 0 h 5800534"/>
                  <a:gd name="connsiteX413" fmla="*/ 4119467 w 5402008"/>
                  <a:gd name="connsiteY413" fmla="*/ 19717 h 5800534"/>
                  <a:gd name="connsiteX414" fmla="*/ 4139184 w 5402008"/>
                  <a:gd name="connsiteY414" fmla="*/ 39434 h 5800534"/>
                  <a:gd name="connsiteX415" fmla="*/ 4316254 w 5402008"/>
                  <a:gd name="connsiteY415" fmla="*/ 39434 h 5800534"/>
                  <a:gd name="connsiteX416" fmla="*/ 4335971 w 5402008"/>
                  <a:gd name="connsiteY416" fmla="*/ 19717 h 5800534"/>
                  <a:gd name="connsiteX417" fmla="*/ 5126927 w 5402008"/>
                  <a:gd name="connsiteY417" fmla="*/ 5658422 h 5800534"/>
                  <a:gd name="connsiteX418" fmla="*/ 4974622 w 5402008"/>
                  <a:gd name="connsiteY418" fmla="*/ 5734622 h 5800534"/>
                  <a:gd name="connsiteX419" fmla="*/ 4961858 w 5402008"/>
                  <a:gd name="connsiteY419" fmla="*/ 5759482 h 5800534"/>
                  <a:gd name="connsiteX420" fmla="*/ 4980718 w 5402008"/>
                  <a:gd name="connsiteY420" fmla="*/ 5773198 h 5800534"/>
                  <a:gd name="connsiteX421" fmla="*/ 4986719 w 5402008"/>
                  <a:gd name="connsiteY421" fmla="*/ 5772245 h 5800534"/>
                  <a:gd name="connsiteX422" fmla="*/ 5149882 w 5402008"/>
                  <a:gd name="connsiteY422" fmla="*/ 5690616 h 5800534"/>
                  <a:gd name="connsiteX423" fmla="*/ 5154549 w 5402008"/>
                  <a:gd name="connsiteY423" fmla="*/ 5663089 h 5800534"/>
                  <a:gd name="connsiteX424" fmla="*/ 5126927 w 5402008"/>
                  <a:gd name="connsiteY424" fmla="*/ 5658422 h 5800534"/>
                  <a:gd name="connsiteX425" fmla="*/ 4690206 w 5402008"/>
                  <a:gd name="connsiteY425" fmla="*/ 19717 h 5800534"/>
                  <a:gd name="connsiteX426" fmla="*/ 4670489 w 5402008"/>
                  <a:gd name="connsiteY426" fmla="*/ 0 h 5800534"/>
                  <a:gd name="connsiteX427" fmla="*/ 4493419 w 5402008"/>
                  <a:gd name="connsiteY427" fmla="*/ 0 h 5800534"/>
                  <a:gd name="connsiteX428" fmla="*/ 4473702 w 5402008"/>
                  <a:gd name="connsiteY428" fmla="*/ 19717 h 5800534"/>
                  <a:gd name="connsiteX429" fmla="*/ 4493419 w 5402008"/>
                  <a:gd name="connsiteY429" fmla="*/ 39434 h 5800534"/>
                  <a:gd name="connsiteX430" fmla="*/ 4670489 w 5402008"/>
                  <a:gd name="connsiteY430" fmla="*/ 39434 h 5800534"/>
                  <a:gd name="connsiteX431" fmla="*/ 4690206 w 5402008"/>
                  <a:gd name="connsiteY431" fmla="*/ 19717 h 5800534"/>
                  <a:gd name="connsiteX432" fmla="*/ 4449890 w 5402008"/>
                  <a:gd name="connsiteY432" fmla="*/ 5761101 h 5800534"/>
                  <a:gd name="connsiteX433" fmla="*/ 4272820 w 5402008"/>
                  <a:gd name="connsiteY433" fmla="*/ 5761101 h 5800534"/>
                  <a:gd name="connsiteX434" fmla="*/ 4253103 w 5402008"/>
                  <a:gd name="connsiteY434" fmla="*/ 5780818 h 5800534"/>
                  <a:gd name="connsiteX435" fmla="*/ 4272820 w 5402008"/>
                  <a:gd name="connsiteY435" fmla="*/ 5800535 h 5800534"/>
                  <a:gd name="connsiteX436" fmla="*/ 4449890 w 5402008"/>
                  <a:gd name="connsiteY436" fmla="*/ 5800535 h 5800534"/>
                  <a:gd name="connsiteX437" fmla="*/ 4469606 w 5402008"/>
                  <a:gd name="connsiteY437" fmla="*/ 5780818 h 5800534"/>
                  <a:gd name="connsiteX438" fmla="*/ 4449890 w 5402008"/>
                  <a:gd name="connsiteY438" fmla="*/ 5761101 h 58005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</a:cxnLst>
                <a:rect l="l" t="t" r="r" b="b"/>
                <a:pathLst>
                  <a:path w="5402008" h="5800534">
                    <a:moveTo>
                      <a:pt x="1147858" y="19717"/>
                    </a:moveTo>
                    <a:cubicBezTo>
                      <a:pt x="1147858" y="8763"/>
                      <a:pt x="1139000" y="0"/>
                      <a:pt x="1128141" y="0"/>
                    </a:cubicBezTo>
                    <a:lnTo>
                      <a:pt x="950976" y="0"/>
                    </a:lnTo>
                    <a:cubicBezTo>
                      <a:pt x="940022" y="0"/>
                      <a:pt x="931259" y="8858"/>
                      <a:pt x="931259" y="19717"/>
                    </a:cubicBezTo>
                    <a:cubicBezTo>
                      <a:pt x="931259" y="30670"/>
                      <a:pt x="940118" y="39434"/>
                      <a:pt x="950976" y="39434"/>
                    </a:cubicBezTo>
                    <a:lnTo>
                      <a:pt x="1128141" y="39434"/>
                    </a:lnTo>
                    <a:cubicBezTo>
                      <a:pt x="1139000" y="39434"/>
                      <a:pt x="1147858" y="30670"/>
                      <a:pt x="1147858" y="19717"/>
                    </a:cubicBezTo>
                    <a:close/>
                    <a:moveTo>
                      <a:pt x="1261872" y="5761101"/>
                    </a:moveTo>
                    <a:lnTo>
                      <a:pt x="1084707" y="5761101"/>
                    </a:lnTo>
                    <a:cubicBezTo>
                      <a:pt x="1073753" y="5761101"/>
                      <a:pt x="1064990" y="5769959"/>
                      <a:pt x="1064990" y="5780818"/>
                    </a:cubicBezTo>
                    <a:cubicBezTo>
                      <a:pt x="1064990" y="5791772"/>
                      <a:pt x="1073849" y="5800535"/>
                      <a:pt x="1084707" y="5800535"/>
                    </a:cubicBezTo>
                    <a:lnTo>
                      <a:pt x="1261872" y="5800535"/>
                    </a:lnTo>
                    <a:cubicBezTo>
                      <a:pt x="1272826" y="5800535"/>
                      <a:pt x="1281589" y="5791677"/>
                      <a:pt x="1281589" y="5780818"/>
                    </a:cubicBezTo>
                    <a:cubicBezTo>
                      <a:pt x="1281589" y="5769959"/>
                      <a:pt x="1272731" y="5761101"/>
                      <a:pt x="1261872" y="5761101"/>
                    </a:cubicBezTo>
                    <a:close/>
                    <a:moveTo>
                      <a:pt x="907637" y="5761101"/>
                    </a:moveTo>
                    <a:lnTo>
                      <a:pt x="730472" y="5761101"/>
                    </a:lnTo>
                    <a:cubicBezTo>
                      <a:pt x="719519" y="5761101"/>
                      <a:pt x="710756" y="5769959"/>
                      <a:pt x="710756" y="5780818"/>
                    </a:cubicBezTo>
                    <a:cubicBezTo>
                      <a:pt x="710756" y="5791772"/>
                      <a:pt x="719614" y="5800535"/>
                      <a:pt x="730472" y="5800535"/>
                    </a:cubicBezTo>
                    <a:lnTo>
                      <a:pt x="907637" y="5800535"/>
                    </a:lnTo>
                    <a:cubicBezTo>
                      <a:pt x="918591" y="5800535"/>
                      <a:pt x="927354" y="5791677"/>
                      <a:pt x="927354" y="5780818"/>
                    </a:cubicBezTo>
                    <a:cubicBezTo>
                      <a:pt x="927354" y="5769959"/>
                      <a:pt x="918496" y="5761101"/>
                      <a:pt x="907637" y="5761101"/>
                    </a:cubicBezTo>
                    <a:close/>
                    <a:moveTo>
                      <a:pt x="441293" y="40767"/>
                    </a:moveTo>
                    <a:cubicBezTo>
                      <a:pt x="437960" y="30385"/>
                      <a:pt x="426911" y="24575"/>
                      <a:pt x="416433" y="27908"/>
                    </a:cubicBezTo>
                    <a:cubicBezTo>
                      <a:pt x="358140" y="46482"/>
                      <a:pt x="303181" y="73819"/>
                      <a:pt x="253079" y="109157"/>
                    </a:cubicBezTo>
                    <a:cubicBezTo>
                      <a:pt x="244126" y="115443"/>
                      <a:pt x="242030" y="127826"/>
                      <a:pt x="248317" y="136684"/>
                    </a:cubicBezTo>
                    <a:cubicBezTo>
                      <a:pt x="252127" y="142113"/>
                      <a:pt x="258318" y="145066"/>
                      <a:pt x="264509" y="145066"/>
                    </a:cubicBezTo>
                    <a:cubicBezTo>
                      <a:pt x="268415" y="145066"/>
                      <a:pt x="272415" y="143923"/>
                      <a:pt x="275939" y="141446"/>
                    </a:cubicBezTo>
                    <a:cubicBezTo>
                      <a:pt x="322707" y="108395"/>
                      <a:pt x="374047" y="82868"/>
                      <a:pt x="428435" y="65532"/>
                    </a:cubicBezTo>
                    <a:cubicBezTo>
                      <a:pt x="438912" y="62294"/>
                      <a:pt x="444627" y="51149"/>
                      <a:pt x="441293" y="40767"/>
                    </a:cubicBezTo>
                    <a:close/>
                    <a:moveTo>
                      <a:pt x="2678716" y="5761101"/>
                    </a:moveTo>
                    <a:lnTo>
                      <a:pt x="2501551" y="5761101"/>
                    </a:lnTo>
                    <a:cubicBezTo>
                      <a:pt x="2490597" y="5761101"/>
                      <a:pt x="2481834" y="5769959"/>
                      <a:pt x="2481834" y="5780818"/>
                    </a:cubicBezTo>
                    <a:cubicBezTo>
                      <a:pt x="2481834" y="5791772"/>
                      <a:pt x="2490692" y="5800535"/>
                      <a:pt x="2501551" y="5800535"/>
                    </a:cubicBezTo>
                    <a:lnTo>
                      <a:pt x="2678716" y="5800535"/>
                    </a:lnTo>
                    <a:cubicBezTo>
                      <a:pt x="2689670" y="5800535"/>
                      <a:pt x="2698433" y="5791677"/>
                      <a:pt x="2698433" y="5780818"/>
                    </a:cubicBezTo>
                    <a:cubicBezTo>
                      <a:pt x="2698528" y="5769959"/>
                      <a:pt x="2689670" y="5761101"/>
                      <a:pt x="2678716" y="5761101"/>
                    </a:cubicBezTo>
                    <a:close/>
                    <a:moveTo>
                      <a:pt x="793623" y="19717"/>
                    </a:moveTo>
                    <a:cubicBezTo>
                      <a:pt x="793623" y="8763"/>
                      <a:pt x="784765" y="0"/>
                      <a:pt x="773906" y="0"/>
                    </a:cubicBezTo>
                    <a:lnTo>
                      <a:pt x="596741" y="0"/>
                    </a:lnTo>
                    <a:cubicBezTo>
                      <a:pt x="585788" y="0"/>
                      <a:pt x="577025" y="8858"/>
                      <a:pt x="577025" y="19717"/>
                    </a:cubicBezTo>
                    <a:cubicBezTo>
                      <a:pt x="577025" y="30670"/>
                      <a:pt x="585883" y="39434"/>
                      <a:pt x="596741" y="39434"/>
                    </a:cubicBezTo>
                    <a:lnTo>
                      <a:pt x="773906" y="39434"/>
                    </a:lnTo>
                    <a:cubicBezTo>
                      <a:pt x="784765" y="39434"/>
                      <a:pt x="793623" y="30670"/>
                      <a:pt x="793623" y="19717"/>
                    </a:cubicBezTo>
                    <a:close/>
                    <a:moveTo>
                      <a:pt x="1502093" y="19717"/>
                    </a:moveTo>
                    <a:cubicBezTo>
                      <a:pt x="1502093" y="8763"/>
                      <a:pt x="1493234" y="0"/>
                      <a:pt x="1482376" y="0"/>
                    </a:cubicBezTo>
                    <a:lnTo>
                      <a:pt x="1305306" y="0"/>
                    </a:lnTo>
                    <a:cubicBezTo>
                      <a:pt x="1294352" y="0"/>
                      <a:pt x="1285589" y="8858"/>
                      <a:pt x="1285589" y="19717"/>
                    </a:cubicBezTo>
                    <a:cubicBezTo>
                      <a:pt x="1285589" y="30670"/>
                      <a:pt x="1294448" y="39434"/>
                      <a:pt x="1305306" y="39434"/>
                    </a:cubicBezTo>
                    <a:lnTo>
                      <a:pt x="1482376" y="39434"/>
                    </a:lnTo>
                    <a:cubicBezTo>
                      <a:pt x="1493234" y="39434"/>
                      <a:pt x="1502093" y="30670"/>
                      <a:pt x="1502093" y="19717"/>
                    </a:cubicBezTo>
                    <a:close/>
                    <a:moveTo>
                      <a:pt x="2324481" y="5761101"/>
                    </a:moveTo>
                    <a:lnTo>
                      <a:pt x="2147316" y="5761101"/>
                    </a:lnTo>
                    <a:cubicBezTo>
                      <a:pt x="2136362" y="5761101"/>
                      <a:pt x="2127599" y="5769959"/>
                      <a:pt x="2127599" y="5780818"/>
                    </a:cubicBezTo>
                    <a:cubicBezTo>
                      <a:pt x="2127599" y="5791772"/>
                      <a:pt x="2136458" y="5800535"/>
                      <a:pt x="2147316" y="5800535"/>
                    </a:cubicBezTo>
                    <a:lnTo>
                      <a:pt x="2324481" y="5800535"/>
                    </a:lnTo>
                    <a:cubicBezTo>
                      <a:pt x="2335435" y="5800535"/>
                      <a:pt x="2344198" y="5791677"/>
                      <a:pt x="2344198" y="5780818"/>
                    </a:cubicBezTo>
                    <a:cubicBezTo>
                      <a:pt x="2344293" y="5769959"/>
                      <a:pt x="2335435" y="5761101"/>
                      <a:pt x="2324481" y="5761101"/>
                    </a:cubicBezTo>
                    <a:close/>
                    <a:moveTo>
                      <a:pt x="2564797" y="19717"/>
                    </a:moveTo>
                    <a:cubicBezTo>
                      <a:pt x="2564797" y="8763"/>
                      <a:pt x="2555939" y="0"/>
                      <a:pt x="2545080" y="0"/>
                    </a:cubicBezTo>
                    <a:lnTo>
                      <a:pt x="2367915" y="0"/>
                    </a:lnTo>
                    <a:cubicBezTo>
                      <a:pt x="2356961" y="0"/>
                      <a:pt x="2348198" y="8858"/>
                      <a:pt x="2348198" y="19717"/>
                    </a:cubicBezTo>
                    <a:cubicBezTo>
                      <a:pt x="2348198" y="30670"/>
                      <a:pt x="2357057" y="39434"/>
                      <a:pt x="2367915" y="39434"/>
                    </a:cubicBezTo>
                    <a:lnTo>
                      <a:pt x="2545080" y="39434"/>
                    </a:lnTo>
                    <a:cubicBezTo>
                      <a:pt x="2555939" y="39434"/>
                      <a:pt x="2564797" y="30670"/>
                      <a:pt x="2564797" y="19717"/>
                    </a:cubicBezTo>
                    <a:close/>
                    <a:moveTo>
                      <a:pt x="129254" y="5506403"/>
                    </a:moveTo>
                    <a:cubicBezTo>
                      <a:pt x="123349" y="5497259"/>
                      <a:pt x="111062" y="5494687"/>
                      <a:pt x="101918" y="5500592"/>
                    </a:cubicBezTo>
                    <a:cubicBezTo>
                      <a:pt x="92774" y="5506498"/>
                      <a:pt x="90202" y="5518785"/>
                      <a:pt x="96107" y="5527930"/>
                    </a:cubicBezTo>
                    <a:cubicBezTo>
                      <a:pt x="129445" y="5579269"/>
                      <a:pt x="170307" y="5624989"/>
                      <a:pt x="217551" y="5664042"/>
                    </a:cubicBezTo>
                    <a:cubicBezTo>
                      <a:pt x="221266" y="5667090"/>
                      <a:pt x="225647" y="5668613"/>
                      <a:pt x="230124" y="5668613"/>
                    </a:cubicBezTo>
                    <a:cubicBezTo>
                      <a:pt x="235839" y="5668613"/>
                      <a:pt x="241459" y="5666137"/>
                      <a:pt x="245364" y="5661470"/>
                    </a:cubicBezTo>
                    <a:cubicBezTo>
                      <a:pt x="252317" y="5653088"/>
                      <a:pt x="251079" y="5640610"/>
                      <a:pt x="242697" y="5633657"/>
                    </a:cubicBezTo>
                    <a:cubicBezTo>
                      <a:pt x="198501" y="5597176"/>
                      <a:pt x="160401" y="5554409"/>
                      <a:pt x="129254" y="5506403"/>
                    </a:cubicBezTo>
                    <a:close/>
                    <a:moveTo>
                      <a:pt x="2210562" y="19717"/>
                    </a:moveTo>
                    <a:cubicBezTo>
                      <a:pt x="2210562" y="8763"/>
                      <a:pt x="2201704" y="0"/>
                      <a:pt x="2190845" y="0"/>
                    </a:cubicBezTo>
                    <a:lnTo>
                      <a:pt x="2013776" y="0"/>
                    </a:lnTo>
                    <a:cubicBezTo>
                      <a:pt x="2002822" y="0"/>
                      <a:pt x="1994059" y="8858"/>
                      <a:pt x="1994059" y="19717"/>
                    </a:cubicBezTo>
                    <a:cubicBezTo>
                      <a:pt x="1994059" y="30670"/>
                      <a:pt x="2002917" y="39434"/>
                      <a:pt x="2013776" y="39434"/>
                    </a:cubicBezTo>
                    <a:lnTo>
                      <a:pt x="2190845" y="39434"/>
                    </a:lnTo>
                    <a:cubicBezTo>
                      <a:pt x="2201704" y="39434"/>
                      <a:pt x="2210562" y="30670"/>
                      <a:pt x="2210562" y="19717"/>
                    </a:cubicBezTo>
                    <a:close/>
                    <a:moveTo>
                      <a:pt x="1970246" y="5761101"/>
                    </a:moveTo>
                    <a:lnTo>
                      <a:pt x="1793177" y="5761101"/>
                    </a:lnTo>
                    <a:cubicBezTo>
                      <a:pt x="1782223" y="5761101"/>
                      <a:pt x="1773460" y="5769959"/>
                      <a:pt x="1773460" y="5780818"/>
                    </a:cubicBezTo>
                    <a:cubicBezTo>
                      <a:pt x="1773460" y="5791772"/>
                      <a:pt x="1782318" y="5800535"/>
                      <a:pt x="1793177" y="5800535"/>
                    </a:cubicBezTo>
                    <a:lnTo>
                      <a:pt x="1970246" y="5800535"/>
                    </a:lnTo>
                    <a:cubicBezTo>
                      <a:pt x="1981200" y="5800535"/>
                      <a:pt x="1989963" y="5791677"/>
                      <a:pt x="1989963" y="5780818"/>
                    </a:cubicBezTo>
                    <a:cubicBezTo>
                      <a:pt x="1990058" y="5769959"/>
                      <a:pt x="1981200" y="5761101"/>
                      <a:pt x="1970246" y="5761101"/>
                    </a:cubicBezTo>
                    <a:close/>
                    <a:moveTo>
                      <a:pt x="1616012" y="5761101"/>
                    </a:moveTo>
                    <a:lnTo>
                      <a:pt x="1438942" y="5761101"/>
                    </a:lnTo>
                    <a:cubicBezTo>
                      <a:pt x="1427988" y="5761101"/>
                      <a:pt x="1419225" y="5769959"/>
                      <a:pt x="1419225" y="5780818"/>
                    </a:cubicBezTo>
                    <a:cubicBezTo>
                      <a:pt x="1419225" y="5791772"/>
                      <a:pt x="1428083" y="5800535"/>
                      <a:pt x="1438942" y="5800535"/>
                    </a:cubicBezTo>
                    <a:lnTo>
                      <a:pt x="1616012" y="5800535"/>
                    </a:lnTo>
                    <a:cubicBezTo>
                      <a:pt x="1626965" y="5800535"/>
                      <a:pt x="1635728" y="5791677"/>
                      <a:pt x="1635728" y="5780818"/>
                    </a:cubicBezTo>
                    <a:cubicBezTo>
                      <a:pt x="1635824" y="5769959"/>
                      <a:pt x="1626965" y="5761101"/>
                      <a:pt x="1616012" y="5761101"/>
                    </a:cubicBezTo>
                    <a:close/>
                    <a:moveTo>
                      <a:pt x="1856327" y="19717"/>
                    </a:moveTo>
                    <a:cubicBezTo>
                      <a:pt x="1856327" y="8763"/>
                      <a:pt x="1847469" y="0"/>
                      <a:pt x="1836611" y="0"/>
                    </a:cubicBezTo>
                    <a:lnTo>
                      <a:pt x="1659541" y="0"/>
                    </a:lnTo>
                    <a:cubicBezTo>
                      <a:pt x="1648587" y="0"/>
                      <a:pt x="1639824" y="8858"/>
                      <a:pt x="1639824" y="19717"/>
                    </a:cubicBezTo>
                    <a:cubicBezTo>
                      <a:pt x="1639824" y="30670"/>
                      <a:pt x="1648682" y="39434"/>
                      <a:pt x="1659541" y="39434"/>
                    </a:cubicBezTo>
                    <a:lnTo>
                      <a:pt x="1836611" y="39434"/>
                    </a:lnTo>
                    <a:cubicBezTo>
                      <a:pt x="1847469" y="39434"/>
                      <a:pt x="1856327" y="30670"/>
                      <a:pt x="1856327" y="19717"/>
                    </a:cubicBezTo>
                    <a:close/>
                    <a:moveTo>
                      <a:pt x="554927" y="5759482"/>
                    </a:moveTo>
                    <a:cubicBezTo>
                      <a:pt x="497776" y="5755101"/>
                      <a:pt x="441960" y="5742147"/>
                      <a:pt x="389096" y="5720715"/>
                    </a:cubicBezTo>
                    <a:cubicBezTo>
                      <a:pt x="379000" y="5716620"/>
                      <a:pt x="367475" y="5721572"/>
                      <a:pt x="363379" y="5731669"/>
                    </a:cubicBezTo>
                    <a:cubicBezTo>
                      <a:pt x="359283" y="5741765"/>
                      <a:pt x="364141" y="5753291"/>
                      <a:pt x="374333" y="5757386"/>
                    </a:cubicBezTo>
                    <a:cubicBezTo>
                      <a:pt x="431006" y="5780247"/>
                      <a:pt x="490728" y="5794248"/>
                      <a:pt x="551974" y="5798915"/>
                    </a:cubicBezTo>
                    <a:cubicBezTo>
                      <a:pt x="552450" y="5798915"/>
                      <a:pt x="553022" y="5799011"/>
                      <a:pt x="553498" y="5799011"/>
                    </a:cubicBezTo>
                    <a:cubicBezTo>
                      <a:pt x="563690" y="5799011"/>
                      <a:pt x="572357" y="5791105"/>
                      <a:pt x="573215" y="5780723"/>
                    </a:cubicBezTo>
                    <a:cubicBezTo>
                      <a:pt x="573977" y="5769769"/>
                      <a:pt x="565785" y="5760339"/>
                      <a:pt x="554927" y="5759482"/>
                    </a:cubicBezTo>
                    <a:close/>
                    <a:moveTo>
                      <a:pt x="19717" y="2189893"/>
                    </a:moveTo>
                    <a:cubicBezTo>
                      <a:pt x="30671" y="2189893"/>
                      <a:pt x="39434" y="2181035"/>
                      <a:pt x="39434" y="2170176"/>
                    </a:cubicBezTo>
                    <a:lnTo>
                      <a:pt x="39434" y="1993011"/>
                    </a:lnTo>
                    <a:cubicBezTo>
                      <a:pt x="39434" y="1982057"/>
                      <a:pt x="30575" y="1973294"/>
                      <a:pt x="19717" y="1973294"/>
                    </a:cubicBezTo>
                    <a:cubicBezTo>
                      <a:pt x="8763" y="1973294"/>
                      <a:pt x="0" y="1982153"/>
                      <a:pt x="0" y="1993011"/>
                    </a:cubicBezTo>
                    <a:lnTo>
                      <a:pt x="0" y="2170176"/>
                    </a:lnTo>
                    <a:cubicBezTo>
                      <a:pt x="0" y="2181035"/>
                      <a:pt x="8858" y="2189893"/>
                      <a:pt x="19717" y="2189893"/>
                    </a:cubicBezTo>
                    <a:close/>
                    <a:moveTo>
                      <a:pt x="19717" y="2544127"/>
                    </a:moveTo>
                    <a:cubicBezTo>
                      <a:pt x="30671" y="2544127"/>
                      <a:pt x="39434" y="2535269"/>
                      <a:pt x="39434" y="2524411"/>
                    </a:cubicBezTo>
                    <a:lnTo>
                      <a:pt x="39434" y="2347341"/>
                    </a:lnTo>
                    <a:cubicBezTo>
                      <a:pt x="39434" y="2336387"/>
                      <a:pt x="30575" y="2327624"/>
                      <a:pt x="19717" y="2327624"/>
                    </a:cubicBezTo>
                    <a:cubicBezTo>
                      <a:pt x="8763" y="2327624"/>
                      <a:pt x="0" y="2336483"/>
                      <a:pt x="0" y="2347341"/>
                    </a:cubicBezTo>
                    <a:lnTo>
                      <a:pt x="0" y="2524411"/>
                    </a:lnTo>
                    <a:cubicBezTo>
                      <a:pt x="0" y="2535269"/>
                      <a:pt x="8858" y="2544127"/>
                      <a:pt x="19717" y="2544127"/>
                    </a:cubicBezTo>
                    <a:close/>
                    <a:moveTo>
                      <a:pt x="19717" y="1835658"/>
                    </a:moveTo>
                    <a:cubicBezTo>
                      <a:pt x="30671" y="1835658"/>
                      <a:pt x="39434" y="1826800"/>
                      <a:pt x="39434" y="1815941"/>
                    </a:cubicBezTo>
                    <a:lnTo>
                      <a:pt x="39434" y="1638776"/>
                    </a:lnTo>
                    <a:cubicBezTo>
                      <a:pt x="39434" y="1627823"/>
                      <a:pt x="30575" y="1619060"/>
                      <a:pt x="19717" y="1619060"/>
                    </a:cubicBezTo>
                    <a:cubicBezTo>
                      <a:pt x="8763" y="1619060"/>
                      <a:pt x="0" y="1627918"/>
                      <a:pt x="0" y="1638776"/>
                    </a:cubicBezTo>
                    <a:lnTo>
                      <a:pt x="0" y="1815941"/>
                    </a:lnTo>
                    <a:cubicBezTo>
                      <a:pt x="0" y="1826800"/>
                      <a:pt x="8858" y="1835658"/>
                      <a:pt x="19717" y="1835658"/>
                    </a:cubicBezTo>
                    <a:close/>
                    <a:moveTo>
                      <a:pt x="19717" y="772954"/>
                    </a:moveTo>
                    <a:cubicBezTo>
                      <a:pt x="30671" y="772954"/>
                      <a:pt x="39434" y="764096"/>
                      <a:pt x="39434" y="753237"/>
                    </a:cubicBezTo>
                    <a:lnTo>
                      <a:pt x="39434" y="597789"/>
                    </a:lnTo>
                    <a:cubicBezTo>
                      <a:pt x="39434" y="590741"/>
                      <a:pt x="39529" y="583787"/>
                      <a:pt x="39815" y="576739"/>
                    </a:cubicBezTo>
                    <a:cubicBezTo>
                      <a:pt x="40195" y="565880"/>
                      <a:pt x="31718" y="556641"/>
                      <a:pt x="20765" y="556260"/>
                    </a:cubicBezTo>
                    <a:cubicBezTo>
                      <a:pt x="10001" y="555879"/>
                      <a:pt x="667" y="564356"/>
                      <a:pt x="286" y="575310"/>
                    </a:cubicBezTo>
                    <a:cubicBezTo>
                      <a:pt x="95" y="582835"/>
                      <a:pt x="0" y="590264"/>
                      <a:pt x="0" y="597789"/>
                    </a:cubicBezTo>
                    <a:lnTo>
                      <a:pt x="0" y="753142"/>
                    </a:lnTo>
                    <a:cubicBezTo>
                      <a:pt x="0" y="764096"/>
                      <a:pt x="8858" y="772954"/>
                      <a:pt x="19717" y="772954"/>
                    </a:cubicBezTo>
                    <a:close/>
                    <a:moveTo>
                      <a:pt x="19717" y="1481423"/>
                    </a:moveTo>
                    <a:cubicBezTo>
                      <a:pt x="30671" y="1481423"/>
                      <a:pt x="39434" y="1472565"/>
                      <a:pt x="39434" y="1461707"/>
                    </a:cubicBezTo>
                    <a:lnTo>
                      <a:pt x="39434" y="1284637"/>
                    </a:lnTo>
                    <a:cubicBezTo>
                      <a:pt x="39434" y="1273683"/>
                      <a:pt x="30575" y="1264920"/>
                      <a:pt x="19717" y="1264920"/>
                    </a:cubicBezTo>
                    <a:cubicBezTo>
                      <a:pt x="8763" y="1264920"/>
                      <a:pt x="0" y="1273778"/>
                      <a:pt x="0" y="1284637"/>
                    </a:cubicBezTo>
                    <a:lnTo>
                      <a:pt x="0" y="1461707"/>
                    </a:lnTo>
                    <a:cubicBezTo>
                      <a:pt x="0" y="1472565"/>
                      <a:pt x="8858" y="1481423"/>
                      <a:pt x="19717" y="1481423"/>
                    </a:cubicBezTo>
                    <a:close/>
                    <a:moveTo>
                      <a:pt x="19717" y="2898362"/>
                    </a:moveTo>
                    <a:cubicBezTo>
                      <a:pt x="30671" y="2898362"/>
                      <a:pt x="39434" y="2889504"/>
                      <a:pt x="39434" y="2878646"/>
                    </a:cubicBezTo>
                    <a:lnTo>
                      <a:pt x="39434" y="2701481"/>
                    </a:lnTo>
                    <a:cubicBezTo>
                      <a:pt x="39434" y="2690527"/>
                      <a:pt x="30575" y="2681764"/>
                      <a:pt x="19717" y="2681764"/>
                    </a:cubicBezTo>
                    <a:cubicBezTo>
                      <a:pt x="8763" y="2681764"/>
                      <a:pt x="0" y="2690622"/>
                      <a:pt x="0" y="2701481"/>
                    </a:cubicBezTo>
                    <a:lnTo>
                      <a:pt x="0" y="2878646"/>
                    </a:lnTo>
                    <a:cubicBezTo>
                      <a:pt x="0" y="2889504"/>
                      <a:pt x="8858" y="2898362"/>
                      <a:pt x="19717" y="2898362"/>
                    </a:cubicBezTo>
                    <a:close/>
                    <a:moveTo>
                      <a:pt x="19717" y="1127189"/>
                    </a:moveTo>
                    <a:cubicBezTo>
                      <a:pt x="30671" y="1127189"/>
                      <a:pt x="39434" y="1118330"/>
                      <a:pt x="39434" y="1107472"/>
                    </a:cubicBezTo>
                    <a:lnTo>
                      <a:pt x="39434" y="930307"/>
                    </a:lnTo>
                    <a:cubicBezTo>
                      <a:pt x="39434" y="919353"/>
                      <a:pt x="30575" y="910590"/>
                      <a:pt x="19717" y="910590"/>
                    </a:cubicBezTo>
                    <a:cubicBezTo>
                      <a:pt x="8763" y="910590"/>
                      <a:pt x="0" y="919448"/>
                      <a:pt x="0" y="930307"/>
                    </a:cubicBezTo>
                    <a:lnTo>
                      <a:pt x="0" y="1107472"/>
                    </a:lnTo>
                    <a:cubicBezTo>
                      <a:pt x="0" y="1118330"/>
                      <a:pt x="8858" y="1127189"/>
                      <a:pt x="19717" y="1127189"/>
                    </a:cubicBezTo>
                    <a:close/>
                    <a:moveTo>
                      <a:pt x="19717" y="3961067"/>
                    </a:moveTo>
                    <a:cubicBezTo>
                      <a:pt x="30671" y="3961067"/>
                      <a:pt x="39434" y="3952208"/>
                      <a:pt x="39434" y="3941350"/>
                    </a:cubicBezTo>
                    <a:lnTo>
                      <a:pt x="39434" y="3764185"/>
                    </a:lnTo>
                    <a:cubicBezTo>
                      <a:pt x="39434" y="3753231"/>
                      <a:pt x="30575" y="3744468"/>
                      <a:pt x="19717" y="3744468"/>
                    </a:cubicBezTo>
                    <a:cubicBezTo>
                      <a:pt x="8763" y="3744468"/>
                      <a:pt x="0" y="3753326"/>
                      <a:pt x="0" y="3764185"/>
                    </a:cubicBezTo>
                    <a:lnTo>
                      <a:pt x="0" y="3941350"/>
                    </a:lnTo>
                    <a:cubicBezTo>
                      <a:pt x="0" y="3952208"/>
                      <a:pt x="8858" y="3961067"/>
                      <a:pt x="19717" y="3961067"/>
                    </a:cubicBezTo>
                    <a:close/>
                    <a:moveTo>
                      <a:pt x="19717" y="5023771"/>
                    </a:moveTo>
                    <a:cubicBezTo>
                      <a:pt x="30671" y="5023771"/>
                      <a:pt x="39434" y="5014913"/>
                      <a:pt x="39434" y="5004055"/>
                    </a:cubicBezTo>
                    <a:lnTo>
                      <a:pt x="39434" y="4826889"/>
                    </a:lnTo>
                    <a:cubicBezTo>
                      <a:pt x="39434" y="4815935"/>
                      <a:pt x="30575" y="4807173"/>
                      <a:pt x="19717" y="4807173"/>
                    </a:cubicBezTo>
                    <a:cubicBezTo>
                      <a:pt x="8763" y="4807173"/>
                      <a:pt x="0" y="4816031"/>
                      <a:pt x="0" y="4826889"/>
                    </a:cubicBezTo>
                    <a:lnTo>
                      <a:pt x="0" y="5004055"/>
                    </a:lnTo>
                    <a:cubicBezTo>
                      <a:pt x="0" y="5014913"/>
                      <a:pt x="8858" y="5023771"/>
                      <a:pt x="19717" y="5023771"/>
                    </a:cubicBezTo>
                    <a:close/>
                    <a:moveTo>
                      <a:pt x="19717" y="4669536"/>
                    </a:moveTo>
                    <a:cubicBezTo>
                      <a:pt x="30671" y="4669536"/>
                      <a:pt x="39434" y="4660678"/>
                      <a:pt x="39434" y="4649819"/>
                    </a:cubicBezTo>
                    <a:lnTo>
                      <a:pt x="39434" y="4472654"/>
                    </a:lnTo>
                    <a:cubicBezTo>
                      <a:pt x="39434" y="4461701"/>
                      <a:pt x="30575" y="4452938"/>
                      <a:pt x="19717" y="4452938"/>
                    </a:cubicBezTo>
                    <a:cubicBezTo>
                      <a:pt x="8763" y="4452938"/>
                      <a:pt x="0" y="4461796"/>
                      <a:pt x="0" y="4472654"/>
                    </a:cubicBezTo>
                    <a:lnTo>
                      <a:pt x="0" y="4649819"/>
                    </a:lnTo>
                    <a:cubicBezTo>
                      <a:pt x="0" y="4660678"/>
                      <a:pt x="8858" y="4669536"/>
                      <a:pt x="19717" y="4669536"/>
                    </a:cubicBezTo>
                    <a:close/>
                    <a:moveTo>
                      <a:pt x="39529" y="5202746"/>
                    </a:moveTo>
                    <a:lnTo>
                      <a:pt x="39529" y="5181124"/>
                    </a:lnTo>
                    <a:cubicBezTo>
                      <a:pt x="39529" y="5170171"/>
                      <a:pt x="30671" y="5161407"/>
                      <a:pt x="19812" y="5161407"/>
                    </a:cubicBezTo>
                    <a:cubicBezTo>
                      <a:pt x="8858" y="5161407"/>
                      <a:pt x="95" y="5170265"/>
                      <a:pt x="95" y="5181124"/>
                    </a:cubicBezTo>
                    <a:lnTo>
                      <a:pt x="95" y="5202746"/>
                    </a:lnTo>
                    <a:cubicBezTo>
                      <a:pt x="95" y="5256657"/>
                      <a:pt x="7239" y="5310092"/>
                      <a:pt x="21431" y="5361527"/>
                    </a:cubicBezTo>
                    <a:cubicBezTo>
                      <a:pt x="23813" y="5370290"/>
                      <a:pt x="31814" y="5376101"/>
                      <a:pt x="40481" y="5376101"/>
                    </a:cubicBezTo>
                    <a:cubicBezTo>
                      <a:pt x="42196" y="5376101"/>
                      <a:pt x="44006" y="5375910"/>
                      <a:pt x="45720" y="5375339"/>
                    </a:cubicBezTo>
                    <a:cubicBezTo>
                      <a:pt x="56198" y="5372481"/>
                      <a:pt x="62389" y="5361527"/>
                      <a:pt x="59531" y="5351050"/>
                    </a:cubicBezTo>
                    <a:cubicBezTo>
                      <a:pt x="46196" y="5303044"/>
                      <a:pt x="39529" y="5253133"/>
                      <a:pt x="39529" y="5202746"/>
                    </a:cubicBezTo>
                    <a:close/>
                    <a:moveTo>
                      <a:pt x="149638" y="232124"/>
                    </a:moveTo>
                    <a:cubicBezTo>
                      <a:pt x="140970" y="225552"/>
                      <a:pt x="128588" y="227267"/>
                      <a:pt x="121920" y="235934"/>
                    </a:cubicBezTo>
                    <a:cubicBezTo>
                      <a:pt x="84773" y="284798"/>
                      <a:pt x="55436" y="338709"/>
                      <a:pt x="34862" y="396240"/>
                    </a:cubicBezTo>
                    <a:cubicBezTo>
                      <a:pt x="31147" y="406527"/>
                      <a:pt x="36481" y="417862"/>
                      <a:pt x="46768" y="421481"/>
                    </a:cubicBezTo>
                    <a:cubicBezTo>
                      <a:pt x="48959" y="422243"/>
                      <a:pt x="51245" y="422624"/>
                      <a:pt x="53435" y="422624"/>
                    </a:cubicBezTo>
                    <a:cubicBezTo>
                      <a:pt x="61532" y="422624"/>
                      <a:pt x="69152" y="417576"/>
                      <a:pt x="72009" y="409480"/>
                    </a:cubicBezTo>
                    <a:cubicBezTo>
                      <a:pt x="91250" y="355759"/>
                      <a:pt x="118586" y="305372"/>
                      <a:pt x="153353" y="259842"/>
                    </a:cubicBezTo>
                    <a:cubicBezTo>
                      <a:pt x="160020" y="251174"/>
                      <a:pt x="158306" y="238792"/>
                      <a:pt x="149638" y="232124"/>
                    </a:cubicBezTo>
                    <a:close/>
                    <a:moveTo>
                      <a:pt x="19717" y="4315301"/>
                    </a:moveTo>
                    <a:cubicBezTo>
                      <a:pt x="30671" y="4315301"/>
                      <a:pt x="39434" y="4306443"/>
                      <a:pt x="39434" y="4295585"/>
                    </a:cubicBezTo>
                    <a:lnTo>
                      <a:pt x="39434" y="4118515"/>
                    </a:lnTo>
                    <a:cubicBezTo>
                      <a:pt x="39434" y="4107561"/>
                      <a:pt x="30575" y="4098798"/>
                      <a:pt x="19717" y="4098798"/>
                    </a:cubicBezTo>
                    <a:cubicBezTo>
                      <a:pt x="8763" y="4098798"/>
                      <a:pt x="0" y="4107656"/>
                      <a:pt x="0" y="4118515"/>
                    </a:cubicBezTo>
                    <a:lnTo>
                      <a:pt x="0" y="4295585"/>
                    </a:lnTo>
                    <a:cubicBezTo>
                      <a:pt x="0" y="4306443"/>
                      <a:pt x="8858" y="4315301"/>
                      <a:pt x="19717" y="4315301"/>
                    </a:cubicBezTo>
                    <a:close/>
                    <a:moveTo>
                      <a:pt x="19717" y="3606832"/>
                    </a:moveTo>
                    <a:cubicBezTo>
                      <a:pt x="30671" y="3606832"/>
                      <a:pt x="39434" y="3597974"/>
                      <a:pt x="39434" y="3587020"/>
                    </a:cubicBezTo>
                    <a:lnTo>
                      <a:pt x="39434" y="3409855"/>
                    </a:lnTo>
                    <a:cubicBezTo>
                      <a:pt x="39434" y="3398901"/>
                      <a:pt x="30575" y="3390138"/>
                      <a:pt x="19717" y="3390138"/>
                    </a:cubicBezTo>
                    <a:cubicBezTo>
                      <a:pt x="8763" y="3390138"/>
                      <a:pt x="0" y="3398996"/>
                      <a:pt x="0" y="3409855"/>
                    </a:cubicBezTo>
                    <a:lnTo>
                      <a:pt x="0" y="3587020"/>
                    </a:lnTo>
                    <a:cubicBezTo>
                      <a:pt x="0" y="3597974"/>
                      <a:pt x="8858" y="3606832"/>
                      <a:pt x="19717" y="3606832"/>
                    </a:cubicBezTo>
                    <a:close/>
                    <a:moveTo>
                      <a:pt x="19717" y="3252597"/>
                    </a:moveTo>
                    <a:cubicBezTo>
                      <a:pt x="30671" y="3252597"/>
                      <a:pt x="39434" y="3243739"/>
                      <a:pt x="39434" y="3232881"/>
                    </a:cubicBezTo>
                    <a:lnTo>
                      <a:pt x="39434" y="3055715"/>
                    </a:lnTo>
                    <a:cubicBezTo>
                      <a:pt x="39434" y="3044762"/>
                      <a:pt x="30575" y="3035999"/>
                      <a:pt x="19717" y="3035999"/>
                    </a:cubicBezTo>
                    <a:cubicBezTo>
                      <a:pt x="8763" y="3035999"/>
                      <a:pt x="0" y="3044857"/>
                      <a:pt x="0" y="3055715"/>
                    </a:cubicBezTo>
                    <a:lnTo>
                      <a:pt x="0" y="3232881"/>
                    </a:lnTo>
                    <a:cubicBezTo>
                      <a:pt x="0" y="3243739"/>
                      <a:pt x="8858" y="3252597"/>
                      <a:pt x="19717" y="3252597"/>
                    </a:cubicBezTo>
                    <a:close/>
                    <a:moveTo>
                      <a:pt x="5382292" y="3609594"/>
                    </a:moveTo>
                    <a:cubicBezTo>
                      <a:pt x="5371338" y="3609594"/>
                      <a:pt x="5362575" y="3618452"/>
                      <a:pt x="5362575" y="3629311"/>
                    </a:cubicBezTo>
                    <a:lnTo>
                      <a:pt x="5362575" y="3806381"/>
                    </a:lnTo>
                    <a:cubicBezTo>
                      <a:pt x="5362575" y="3817334"/>
                      <a:pt x="5371433" y="3826098"/>
                      <a:pt x="5382292" y="3826098"/>
                    </a:cubicBezTo>
                    <a:cubicBezTo>
                      <a:pt x="5393245" y="3826098"/>
                      <a:pt x="5402009" y="3817239"/>
                      <a:pt x="5402009" y="3806381"/>
                    </a:cubicBezTo>
                    <a:lnTo>
                      <a:pt x="5402009" y="3629311"/>
                    </a:lnTo>
                    <a:cubicBezTo>
                      <a:pt x="5402009" y="3618452"/>
                      <a:pt x="5393151" y="3609594"/>
                      <a:pt x="5382292" y="3609594"/>
                    </a:cubicBezTo>
                    <a:close/>
                    <a:moveTo>
                      <a:pt x="2919032" y="19717"/>
                    </a:moveTo>
                    <a:cubicBezTo>
                      <a:pt x="2919032" y="8763"/>
                      <a:pt x="2910173" y="0"/>
                      <a:pt x="2899315" y="0"/>
                    </a:cubicBezTo>
                    <a:lnTo>
                      <a:pt x="2722245" y="0"/>
                    </a:lnTo>
                    <a:cubicBezTo>
                      <a:pt x="2711291" y="0"/>
                      <a:pt x="2702528" y="8858"/>
                      <a:pt x="2702528" y="19717"/>
                    </a:cubicBezTo>
                    <a:cubicBezTo>
                      <a:pt x="2702528" y="30670"/>
                      <a:pt x="2711387" y="39434"/>
                      <a:pt x="2722245" y="39434"/>
                    </a:cubicBezTo>
                    <a:lnTo>
                      <a:pt x="2899315" y="39434"/>
                    </a:lnTo>
                    <a:cubicBezTo>
                      <a:pt x="2910173" y="39434"/>
                      <a:pt x="2919032" y="30670"/>
                      <a:pt x="2919032" y="19717"/>
                    </a:cubicBezTo>
                    <a:close/>
                    <a:moveTo>
                      <a:pt x="5382292" y="3963829"/>
                    </a:moveTo>
                    <a:cubicBezTo>
                      <a:pt x="5371338" y="3963829"/>
                      <a:pt x="5362575" y="3972687"/>
                      <a:pt x="5362575" y="3983546"/>
                    </a:cubicBezTo>
                    <a:lnTo>
                      <a:pt x="5362575" y="4160711"/>
                    </a:lnTo>
                    <a:cubicBezTo>
                      <a:pt x="5362575" y="4171664"/>
                      <a:pt x="5371433" y="4180427"/>
                      <a:pt x="5382292" y="4180427"/>
                    </a:cubicBezTo>
                    <a:cubicBezTo>
                      <a:pt x="5393245" y="4180427"/>
                      <a:pt x="5402009" y="4171569"/>
                      <a:pt x="5402009" y="4160711"/>
                    </a:cubicBezTo>
                    <a:lnTo>
                      <a:pt x="5402009" y="3983546"/>
                    </a:lnTo>
                    <a:cubicBezTo>
                      <a:pt x="5402009" y="3972687"/>
                      <a:pt x="5393151" y="3963829"/>
                      <a:pt x="5382292" y="3963829"/>
                    </a:cubicBezTo>
                    <a:close/>
                    <a:moveTo>
                      <a:pt x="5382292" y="4318064"/>
                    </a:moveTo>
                    <a:cubicBezTo>
                      <a:pt x="5371338" y="4318064"/>
                      <a:pt x="5362575" y="4326922"/>
                      <a:pt x="5362575" y="4337781"/>
                    </a:cubicBezTo>
                    <a:lnTo>
                      <a:pt x="5362575" y="4514945"/>
                    </a:lnTo>
                    <a:cubicBezTo>
                      <a:pt x="5362575" y="4525899"/>
                      <a:pt x="5371433" y="4534662"/>
                      <a:pt x="5382292" y="4534662"/>
                    </a:cubicBezTo>
                    <a:cubicBezTo>
                      <a:pt x="5393245" y="4534662"/>
                      <a:pt x="5402009" y="4525804"/>
                      <a:pt x="5402009" y="4514945"/>
                    </a:cubicBezTo>
                    <a:lnTo>
                      <a:pt x="5402009" y="4337781"/>
                    </a:lnTo>
                    <a:cubicBezTo>
                      <a:pt x="5402009" y="4326922"/>
                      <a:pt x="5393151" y="4318064"/>
                      <a:pt x="5382292" y="4318064"/>
                    </a:cubicBezTo>
                    <a:close/>
                    <a:moveTo>
                      <a:pt x="5382292" y="5026533"/>
                    </a:moveTo>
                    <a:cubicBezTo>
                      <a:pt x="5371338" y="5026533"/>
                      <a:pt x="5362575" y="5035392"/>
                      <a:pt x="5362575" y="5046250"/>
                    </a:cubicBezTo>
                    <a:lnTo>
                      <a:pt x="5362575" y="5202746"/>
                    </a:lnTo>
                    <a:cubicBezTo>
                      <a:pt x="5362575" y="5209413"/>
                      <a:pt x="5362480" y="5216081"/>
                      <a:pt x="5362194" y="5222748"/>
                    </a:cubicBezTo>
                    <a:cubicBezTo>
                      <a:pt x="5361813" y="5233607"/>
                      <a:pt x="5370290" y="5242846"/>
                      <a:pt x="5381244" y="5243227"/>
                    </a:cubicBezTo>
                    <a:cubicBezTo>
                      <a:pt x="5381435" y="5243227"/>
                      <a:pt x="5381721" y="5243227"/>
                      <a:pt x="5381911" y="5243227"/>
                    </a:cubicBezTo>
                    <a:cubicBezTo>
                      <a:pt x="5392484" y="5243227"/>
                      <a:pt x="5401247" y="5234845"/>
                      <a:pt x="5401628" y="5224177"/>
                    </a:cubicBezTo>
                    <a:cubicBezTo>
                      <a:pt x="5401914" y="5217129"/>
                      <a:pt x="5402009" y="5209985"/>
                      <a:pt x="5402009" y="5202841"/>
                    </a:cubicBezTo>
                    <a:lnTo>
                      <a:pt x="5402009" y="5046346"/>
                    </a:lnTo>
                    <a:cubicBezTo>
                      <a:pt x="5402009" y="5035392"/>
                      <a:pt x="5393151" y="5026533"/>
                      <a:pt x="5382292" y="5026533"/>
                    </a:cubicBezTo>
                    <a:close/>
                    <a:moveTo>
                      <a:pt x="5382292" y="4672299"/>
                    </a:moveTo>
                    <a:cubicBezTo>
                      <a:pt x="5371338" y="4672299"/>
                      <a:pt x="5362575" y="4681157"/>
                      <a:pt x="5362575" y="4692015"/>
                    </a:cubicBezTo>
                    <a:lnTo>
                      <a:pt x="5362575" y="4869085"/>
                    </a:lnTo>
                    <a:cubicBezTo>
                      <a:pt x="5362575" y="4880039"/>
                      <a:pt x="5371433" y="4888802"/>
                      <a:pt x="5382292" y="4888802"/>
                    </a:cubicBezTo>
                    <a:cubicBezTo>
                      <a:pt x="5393245" y="4888802"/>
                      <a:pt x="5402009" y="4879943"/>
                      <a:pt x="5402009" y="4869085"/>
                    </a:cubicBezTo>
                    <a:lnTo>
                      <a:pt x="5402009" y="4692015"/>
                    </a:lnTo>
                    <a:cubicBezTo>
                      <a:pt x="5402009" y="4681157"/>
                      <a:pt x="5393151" y="4672299"/>
                      <a:pt x="5382292" y="4672299"/>
                    </a:cubicBezTo>
                    <a:close/>
                    <a:moveTo>
                      <a:pt x="5382292" y="2901125"/>
                    </a:moveTo>
                    <a:cubicBezTo>
                      <a:pt x="5371338" y="2901125"/>
                      <a:pt x="5362575" y="2909983"/>
                      <a:pt x="5362575" y="2920841"/>
                    </a:cubicBezTo>
                    <a:lnTo>
                      <a:pt x="5362575" y="3097911"/>
                    </a:lnTo>
                    <a:cubicBezTo>
                      <a:pt x="5362575" y="3108865"/>
                      <a:pt x="5371433" y="3117628"/>
                      <a:pt x="5382292" y="3117628"/>
                    </a:cubicBezTo>
                    <a:cubicBezTo>
                      <a:pt x="5393245" y="3117628"/>
                      <a:pt x="5402009" y="3108769"/>
                      <a:pt x="5402009" y="3097911"/>
                    </a:cubicBezTo>
                    <a:lnTo>
                      <a:pt x="5402009" y="2920841"/>
                    </a:lnTo>
                    <a:cubicBezTo>
                      <a:pt x="5402009" y="2909983"/>
                      <a:pt x="5393151" y="2901125"/>
                      <a:pt x="5382292" y="2901125"/>
                    </a:cubicBezTo>
                    <a:close/>
                    <a:moveTo>
                      <a:pt x="5382292" y="2546890"/>
                    </a:moveTo>
                    <a:cubicBezTo>
                      <a:pt x="5371338" y="2546890"/>
                      <a:pt x="5362575" y="2555748"/>
                      <a:pt x="5362575" y="2566607"/>
                    </a:cubicBezTo>
                    <a:lnTo>
                      <a:pt x="5362575" y="2743772"/>
                    </a:lnTo>
                    <a:cubicBezTo>
                      <a:pt x="5362575" y="2754725"/>
                      <a:pt x="5371433" y="2763488"/>
                      <a:pt x="5382292" y="2763488"/>
                    </a:cubicBezTo>
                    <a:cubicBezTo>
                      <a:pt x="5393245" y="2763488"/>
                      <a:pt x="5402009" y="2754630"/>
                      <a:pt x="5402009" y="2743772"/>
                    </a:cubicBezTo>
                    <a:lnTo>
                      <a:pt x="5402009" y="2566607"/>
                    </a:lnTo>
                    <a:cubicBezTo>
                      <a:pt x="5402009" y="2555748"/>
                      <a:pt x="5393151" y="2546890"/>
                      <a:pt x="5382292" y="2546890"/>
                    </a:cubicBezTo>
                    <a:close/>
                    <a:moveTo>
                      <a:pt x="5382292" y="1129951"/>
                    </a:moveTo>
                    <a:cubicBezTo>
                      <a:pt x="5371338" y="1129951"/>
                      <a:pt x="5362575" y="1138809"/>
                      <a:pt x="5362575" y="1149668"/>
                    </a:cubicBezTo>
                    <a:lnTo>
                      <a:pt x="5362575" y="1326833"/>
                    </a:lnTo>
                    <a:cubicBezTo>
                      <a:pt x="5362575" y="1337786"/>
                      <a:pt x="5371433" y="1346549"/>
                      <a:pt x="5382292" y="1346549"/>
                    </a:cubicBezTo>
                    <a:cubicBezTo>
                      <a:pt x="5393245" y="1346549"/>
                      <a:pt x="5402009" y="1337691"/>
                      <a:pt x="5402009" y="1326833"/>
                    </a:cubicBezTo>
                    <a:lnTo>
                      <a:pt x="5402009" y="1149668"/>
                    </a:lnTo>
                    <a:cubicBezTo>
                      <a:pt x="5402009" y="1138809"/>
                      <a:pt x="5393151" y="1129951"/>
                      <a:pt x="5382292" y="1129951"/>
                    </a:cubicBezTo>
                    <a:close/>
                    <a:moveTo>
                      <a:pt x="5382292" y="775716"/>
                    </a:moveTo>
                    <a:cubicBezTo>
                      <a:pt x="5371338" y="775716"/>
                      <a:pt x="5362575" y="784574"/>
                      <a:pt x="5362575" y="795433"/>
                    </a:cubicBezTo>
                    <a:lnTo>
                      <a:pt x="5362575" y="972503"/>
                    </a:lnTo>
                    <a:cubicBezTo>
                      <a:pt x="5362575" y="983456"/>
                      <a:pt x="5371433" y="992219"/>
                      <a:pt x="5382292" y="992219"/>
                    </a:cubicBezTo>
                    <a:cubicBezTo>
                      <a:pt x="5393245" y="992219"/>
                      <a:pt x="5402009" y="983361"/>
                      <a:pt x="5402009" y="972503"/>
                    </a:cubicBezTo>
                    <a:lnTo>
                      <a:pt x="5402009" y="795528"/>
                    </a:lnTo>
                    <a:cubicBezTo>
                      <a:pt x="5402009" y="784574"/>
                      <a:pt x="5393151" y="775716"/>
                      <a:pt x="5382292" y="775716"/>
                    </a:cubicBezTo>
                    <a:close/>
                    <a:moveTo>
                      <a:pt x="5380387" y="437960"/>
                    </a:moveTo>
                    <a:cubicBezTo>
                      <a:pt x="5377434" y="427482"/>
                      <a:pt x="5366576" y="421291"/>
                      <a:pt x="5356098" y="424148"/>
                    </a:cubicBezTo>
                    <a:cubicBezTo>
                      <a:pt x="5345620" y="427101"/>
                      <a:pt x="5339430" y="437960"/>
                      <a:pt x="5342287" y="448437"/>
                    </a:cubicBezTo>
                    <a:cubicBezTo>
                      <a:pt x="5355718" y="496824"/>
                      <a:pt x="5362480" y="547116"/>
                      <a:pt x="5362480" y="597789"/>
                    </a:cubicBezTo>
                    <a:lnTo>
                      <a:pt x="5362480" y="618363"/>
                    </a:lnTo>
                    <a:cubicBezTo>
                      <a:pt x="5362480" y="629317"/>
                      <a:pt x="5371338" y="638080"/>
                      <a:pt x="5382197" y="638080"/>
                    </a:cubicBezTo>
                    <a:cubicBezTo>
                      <a:pt x="5393151" y="638080"/>
                      <a:pt x="5401914" y="629222"/>
                      <a:pt x="5401914" y="618363"/>
                    </a:cubicBezTo>
                    <a:lnTo>
                      <a:pt x="5401914" y="597789"/>
                    </a:lnTo>
                    <a:cubicBezTo>
                      <a:pt x="5402009" y="543497"/>
                      <a:pt x="5394770" y="489776"/>
                      <a:pt x="5380387" y="437960"/>
                    </a:cubicBezTo>
                    <a:close/>
                    <a:moveTo>
                      <a:pt x="5382292" y="2192655"/>
                    </a:moveTo>
                    <a:cubicBezTo>
                      <a:pt x="5371338" y="2192655"/>
                      <a:pt x="5362575" y="2201513"/>
                      <a:pt x="5362575" y="2212372"/>
                    </a:cubicBezTo>
                    <a:lnTo>
                      <a:pt x="5362575" y="2389537"/>
                    </a:lnTo>
                    <a:cubicBezTo>
                      <a:pt x="5362575" y="2400491"/>
                      <a:pt x="5371433" y="2409254"/>
                      <a:pt x="5382292" y="2409254"/>
                    </a:cubicBezTo>
                    <a:cubicBezTo>
                      <a:pt x="5393245" y="2409254"/>
                      <a:pt x="5402009" y="2400395"/>
                      <a:pt x="5402009" y="2389537"/>
                    </a:cubicBezTo>
                    <a:lnTo>
                      <a:pt x="5402009" y="2212372"/>
                    </a:lnTo>
                    <a:cubicBezTo>
                      <a:pt x="5402009" y="2201513"/>
                      <a:pt x="5393151" y="2192655"/>
                      <a:pt x="5382292" y="2192655"/>
                    </a:cubicBezTo>
                    <a:close/>
                    <a:moveTo>
                      <a:pt x="5355622" y="5378101"/>
                    </a:moveTo>
                    <a:cubicBezTo>
                      <a:pt x="5345335" y="5374386"/>
                      <a:pt x="5334000" y="5379815"/>
                      <a:pt x="5330381" y="5390102"/>
                    </a:cubicBezTo>
                    <a:cubicBezTo>
                      <a:pt x="5311235" y="5443919"/>
                      <a:pt x="5283994" y="5494306"/>
                      <a:pt x="5249323" y="5539931"/>
                    </a:cubicBezTo>
                    <a:cubicBezTo>
                      <a:pt x="5242751" y="5548599"/>
                      <a:pt x="5244465" y="5560981"/>
                      <a:pt x="5253133" y="5567649"/>
                    </a:cubicBezTo>
                    <a:cubicBezTo>
                      <a:pt x="5256753" y="5570315"/>
                      <a:pt x="5260944" y="5571649"/>
                      <a:pt x="5265039" y="5571649"/>
                    </a:cubicBezTo>
                    <a:cubicBezTo>
                      <a:pt x="5271040" y="5571649"/>
                      <a:pt x="5276946" y="5568982"/>
                      <a:pt x="5280755" y="5563838"/>
                    </a:cubicBezTo>
                    <a:cubicBezTo>
                      <a:pt x="5317808" y="5514975"/>
                      <a:pt x="5347049" y="5460968"/>
                      <a:pt x="5367528" y="5403342"/>
                    </a:cubicBezTo>
                    <a:cubicBezTo>
                      <a:pt x="5371243" y="5393055"/>
                      <a:pt x="5365909" y="5381720"/>
                      <a:pt x="5355622" y="5378101"/>
                    </a:cubicBezTo>
                    <a:close/>
                    <a:moveTo>
                      <a:pt x="5382292" y="1838420"/>
                    </a:moveTo>
                    <a:cubicBezTo>
                      <a:pt x="5371338" y="1838420"/>
                      <a:pt x="5362575" y="1847279"/>
                      <a:pt x="5362575" y="1858137"/>
                    </a:cubicBezTo>
                    <a:lnTo>
                      <a:pt x="5362575" y="2035207"/>
                    </a:lnTo>
                    <a:cubicBezTo>
                      <a:pt x="5362575" y="2046161"/>
                      <a:pt x="5371433" y="2054924"/>
                      <a:pt x="5382292" y="2054924"/>
                    </a:cubicBezTo>
                    <a:cubicBezTo>
                      <a:pt x="5393245" y="2054924"/>
                      <a:pt x="5402009" y="2046065"/>
                      <a:pt x="5402009" y="2035207"/>
                    </a:cubicBezTo>
                    <a:lnTo>
                      <a:pt x="5402009" y="1858137"/>
                    </a:lnTo>
                    <a:cubicBezTo>
                      <a:pt x="5402009" y="1847279"/>
                      <a:pt x="5393151" y="1838420"/>
                      <a:pt x="5382292" y="1838420"/>
                    </a:cubicBezTo>
                    <a:close/>
                    <a:moveTo>
                      <a:pt x="5382292" y="1484186"/>
                    </a:moveTo>
                    <a:cubicBezTo>
                      <a:pt x="5371338" y="1484186"/>
                      <a:pt x="5362575" y="1493044"/>
                      <a:pt x="5362575" y="1503902"/>
                    </a:cubicBezTo>
                    <a:lnTo>
                      <a:pt x="5362575" y="1681067"/>
                    </a:lnTo>
                    <a:cubicBezTo>
                      <a:pt x="5362575" y="1692021"/>
                      <a:pt x="5371433" y="1700784"/>
                      <a:pt x="5382292" y="1700784"/>
                    </a:cubicBezTo>
                    <a:cubicBezTo>
                      <a:pt x="5393245" y="1700784"/>
                      <a:pt x="5402009" y="1691926"/>
                      <a:pt x="5402009" y="1681067"/>
                    </a:cubicBezTo>
                    <a:lnTo>
                      <a:pt x="5402009" y="1503902"/>
                    </a:lnTo>
                    <a:cubicBezTo>
                      <a:pt x="5402009" y="1493044"/>
                      <a:pt x="5393151" y="1484186"/>
                      <a:pt x="5382292" y="1484186"/>
                    </a:cubicBezTo>
                    <a:close/>
                    <a:moveTo>
                      <a:pt x="5382292" y="3255359"/>
                    </a:moveTo>
                    <a:cubicBezTo>
                      <a:pt x="5371338" y="3255359"/>
                      <a:pt x="5362575" y="3264218"/>
                      <a:pt x="5362575" y="3275076"/>
                    </a:cubicBezTo>
                    <a:lnTo>
                      <a:pt x="5362575" y="3452241"/>
                    </a:lnTo>
                    <a:cubicBezTo>
                      <a:pt x="5362575" y="3463195"/>
                      <a:pt x="5371433" y="3471958"/>
                      <a:pt x="5382292" y="3471958"/>
                    </a:cubicBezTo>
                    <a:cubicBezTo>
                      <a:pt x="5393245" y="3471958"/>
                      <a:pt x="5402009" y="3463100"/>
                      <a:pt x="5402009" y="3452241"/>
                    </a:cubicBezTo>
                    <a:lnTo>
                      <a:pt x="5402009" y="3275076"/>
                    </a:lnTo>
                    <a:cubicBezTo>
                      <a:pt x="5402009" y="3264218"/>
                      <a:pt x="5393151" y="3255359"/>
                      <a:pt x="5382292" y="3255359"/>
                    </a:cubicBezTo>
                    <a:close/>
                    <a:moveTo>
                      <a:pt x="5288756" y="302228"/>
                    </a:moveTo>
                    <a:cubicBezTo>
                      <a:pt x="5292471" y="302228"/>
                      <a:pt x="5296186" y="301181"/>
                      <a:pt x="5299520" y="298990"/>
                    </a:cubicBezTo>
                    <a:cubicBezTo>
                      <a:pt x="5308664" y="292989"/>
                      <a:pt x="5311235" y="280797"/>
                      <a:pt x="5305235" y="271653"/>
                    </a:cubicBezTo>
                    <a:cubicBezTo>
                      <a:pt x="5271802" y="220409"/>
                      <a:pt x="5230844" y="174689"/>
                      <a:pt x="5183505" y="135827"/>
                    </a:cubicBezTo>
                    <a:cubicBezTo>
                      <a:pt x="5175123" y="128873"/>
                      <a:pt x="5162646" y="130111"/>
                      <a:pt x="5155693" y="138589"/>
                    </a:cubicBezTo>
                    <a:cubicBezTo>
                      <a:pt x="5148739" y="146971"/>
                      <a:pt x="5149977" y="159449"/>
                      <a:pt x="5158455" y="166402"/>
                    </a:cubicBezTo>
                    <a:cubicBezTo>
                      <a:pt x="5202651" y="202787"/>
                      <a:pt x="5240941" y="245459"/>
                      <a:pt x="5272088" y="293370"/>
                    </a:cubicBezTo>
                    <a:cubicBezTo>
                      <a:pt x="5275993" y="299085"/>
                      <a:pt x="5282280" y="302228"/>
                      <a:pt x="5288756" y="302228"/>
                    </a:cubicBezTo>
                    <a:close/>
                    <a:moveTo>
                      <a:pt x="3627501" y="19717"/>
                    </a:moveTo>
                    <a:cubicBezTo>
                      <a:pt x="3627501" y="8763"/>
                      <a:pt x="3618643" y="0"/>
                      <a:pt x="3607784" y="0"/>
                    </a:cubicBezTo>
                    <a:lnTo>
                      <a:pt x="3430715" y="0"/>
                    </a:lnTo>
                    <a:cubicBezTo>
                      <a:pt x="3419761" y="0"/>
                      <a:pt x="3410998" y="8858"/>
                      <a:pt x="3410998" y="19717"/>
                    </a:cubicBezTo>
                    <a:cubicBezTo>
                      <a:pt x="3410998" y="30670"/>
                      <a:pt x="3419856" y="39434"/>
                      <a:pt x="3430715" y="39434"/>
                    </a:cubicBezTo>
                    <a:lnTo>
                      <a:pt x="3607784" y="39434"/>
                    </a:lnTo>
                    <a:cubicBezTo>
                      <a:pt x="3618643" y="39434"/>
                      <a:pt x="3627501" y="30670"/>
                      <a:pt x="3627501" y="19717"/>
                    </a:cubicBezTo>
                    <a:close/>
                    <a:moveTo>
                      <a:pt x="3981736" y="19717"/>
                    </a:moveTo>
                    <a:cubicBezTo>
                      <a:pt x="3981736" y="8763"/>
                      <a:pt x="3972878" y="0"/>
                      <a:pt x="3962019" y="0"/>
                    </a:cubicBezTo>
                    <a:lnTo>
                      <a:pt x="3784854" y="0"/>
                    </a:lnTo>
                    <a:cubicBezTo>
                      <a:pt x="3773900" y="0"/>
                      <a:pt x="3765137" y="8858"/>
                      <a:pt x="3765137" y="19717"/>
                    </a:cubicBezTo>
                    <a:cubicBezTo>
                      <a:pt x="3765137" y="30670"/>
                      <a:pt x="3773996" y="39434"/>
                      <a:pt x="3784854" y="39434"/>
                    </a:cubicBezTo>
                    <a:lnTo>
                      <a:pt x="3962019" y="39434"/>
                    </a:lnTo>
                    <a:cubicBezTo>
                      <a:pt x="3972878" y="39434"/>
                      <a:pt x="3981736" y="30670"/>
                      <a:pt x="3981736" y="19717"/>
                    </a:cubicBezTo>
                    <a:close/>
                    <a:moveTo>
                      <a:pt x="3741420" y="5761101"/>
                    </a:moveTo>
                    <a:lnTo>
                      <a:pt x="3564255" y="5761101"/>
                    </a:lnTo>
                    <a:cubicBezTo>
                      <a:pt x="3553301" y="5761101"/>
                      <a:pt x="3544538" y="5769959"/>
                      <a:pt x="3544538" y="5780818"/>
                    </a:cubicBezTo>
                    <a:cubicBezTo>
                      <a:pt x="3544538" y="5791772"/>
                      <a:pt x="3553397" y="5800535"/>
                      <a:pt x="3564255" y="5800535"/>
                    </a:cubicBezTo>
                    <a:lnTo>
                      <a:pt x="3741420" y="5800535"/>
                    </a:lnTo>
                    <a:cubicBezTo>
                      <a:pt x="3752374" y="5800535"/>
                      <a:pt x="3761137" y="5791677"/>
                      <a:pt x="3761137" y="5780818"/>
                    </a:cubicBezTo>
                    <a:cubicBezTo>
                      <a:pt x="3761232" y="5769959"/>
                      <a:pt x="3752374" y="5761101"/>
                      <a:pt x="3741420" y="5761101"/>
                    </a:cubicBezTo>
                    <a:close/>
                    <a:moveTo>
                      <a:pt x="3032951" y="5761101"/>
                    </a:moveTo>
                    <a:lnTo>
                      <a:pt x="2855881" y="5761101"/>
                    </a:lnTo>
                    <a:cubicBezTo>
                      <a:pt x="2844927" y="5761101"/>
                      <a:pt x="2836164" y="5769959"/>
                      <a:pt x="2836164" y="5780818"/>
                    </a:cubicBezTo>
                    <a:cubicBezTo>
                      <a:pt x="2836164" y="5791772"/>
                      <a:pt x="2845022" y="5800535"/>
                      <a:pt x="2855881" y="5800535"/>
                    </a:cubicBezTo>
                    <a:lnTo>
                      <a:pt x="3032951" y="5800535"/>
                    </a:lnTo>
                    <a:cubicBezTo>
                      <a:pt x="3043904" y="5800535"/>
                      <a:pt x="3052667" y="5791677"/>
                      <a:pt x="3052667" y="5780818"/>
                    </a:cubicBezTo>
                    <a:cubicBezTo>
                      <a:pt x="3052763" y="5769959"/>
                      <a:pt x="3043904" y="5761101"/>
                      <a:pt x="3032951" y="5761101"/>
                    </a:cubicBezTo>
                    <a:close/>
                    <a:moveTo>
                      <a:pt x="3387185" y="5761101"/>
                    </a:moveTo>
                    <a:lnTo>
                      <a:pt x="3210116" y="5761101"/>
                    </a:lnTo>
                    <a:cubicBezTo>
                      <a:pt x="3199162" y="5761101"/>
                      <a:pt x="3190399" y="5769959"/>
                      <a:pt x="3190399" y="5780818"/>
                    </a:cubicBezTo>
                    <a:cubicBezTo>
                      <a:pt x="3190399" y="5791772"/>
                      <a:pt x="3199257" y="5800535"/>
                      <a:pt x="3210116" y="5800535"/>
                    </a:cubicBezTo>
                    <a:lnTo>
                      <a:pt x="3387185" y="5800535"/>
                    </a:lnTo>
                    <a:cubicBezTo>
                      <a:pt x="3398139" y="5800535"/>
                      <a:pt x="3406902" y="5791677"/>
                      <a:pt x="3406902" y="5780818"/>
                    </a:cubicBezTo>
                    <a:cubicBezTo>
                      <a:pt x="3406997" y="5769959"/>
                      <a:pt x="3398139" y="5761101"/>
                      <a:pt x="3387185" y="5761101"/>
                    </a:cubicBezTo>
                    <a:close/>
                    <a:moveTo>
                      <a:pt x="3273266" y="19717"/>
                    </a:moveTo>
                    <a:cubicBezTo>
                      <a:pt x="3273266" y="8763"/>
                      <a:pt x="3264408" y="0"/>
                      <a:pt x="3253549" y="0"/>
                    </a:cubicBezTo>
                    <a:lnTo>
                      <a:pt x="3076480" y="0"/>
                    </a:lnTo>
                    <a:cubicBezTo>
                      <a:pt x="3065526" y="0"/>
                      <a:pt x="3056763" y="8858"/>
                      <a:pt x="3056763" y="19717"/>
                    </a:cubicBezTo>
                    <a:cubicBezTo>
                      <a:pt x="3056763" y="30670"/>
                      <a:pt x="3065621" y="39434"/>
                      <a:pt x="3076480" y="39434"/>
                    </a:cubicBezTo>
                    <a:lnTo>
                      <a:pt x="3253549" y="39434"/>
                    </a:lnTo>
                    <a:cubicBezTo>
                      <a:pt x="3264408" y="39434"/>
                      <a:pt x="3273266" y="30670"/>
                      <a:pt x="3273266" y="19717"/>
                    </a:cubicBezTo>
                    <a:close/>
                    <a:moveTo>
                      <a:pt x="4095655" y="5761101"/>
                    </a:moveTo>
                    <a:lnTo>
                      <a:pt x="3918490" y="5761101"/>
                    </a:lnTo>
                    <a:cubicBezTo>
                      <a:pt x="3907536" y="5761101"/>
                      <a:pt x="3898773" y="5769959"/>
                      <a:pt x="3898773" y="5780818"/>
                    </a:cubicBezTo>
                    <a:cubicBezTo>
                      <a:pt x="3898773" y="5791772"/>
                      <a:pt x="3907631" y="5800535"/>
                      <a:pt x="3918490" y="5800535"/>
                    </a:cubicBezTo>
                    <a:lnTo>
                      <a:pt x="4095655" y="5800535"/>
                    </a:lnTo>
                    <a:cubicBezTo>
                      <a:pt x="4106609" y="5800535"/>
                      <a:pt x="4115372" y="5791677"/>
                      <a:pt x="4115372" y="5780818"/>
                    </a:cubicBezTo>
                    <a:cubicBezTo>
                      <a:pt x="4115467" y="5769959"/>
                      <a:pt x="4106609" y="5761101"/>
                      <a:pt x="4095655" y="5761101"/>
                    </a:cubicBezTo>
                    <a:close/>
                    <a:moveTo>
                      <a:pt x="5019389" y="80867"/>
                    </a:moveTo>
                    <a:cubicBezTo>
                      <a:pt x="5027200" y="80867"/>
                      <a:pt x="5034630" y="76200"/>
                      <a:pt x="5037773" y="68485"/>
                    </a:cubicBezTo>
                    <a:cubicBezTo>
                      <a:pt x="5041869" y="58388"/>
                      <a:pt x="5036915" y="46863"/>
                      <a:pt x="5026819" y="42767"/>
                    </a:cubicBezTo>
                    <a:cubicBezTo>
                      <a:pt x="4970050" y="20003"/>
                      <a:pt x="4910328" y="6191"/>
                      <a:pt x="4849082" y="1619"/>
                    </a:cubicBezTo>
                    <a:cubicBezTo>
                      <a:pt x="4838224" y="857"/>
                      <a:pt x="4828699" y="8954"/>
                      <a:pt x="4827937" y="19907"/>
                    </a:cubicBezTo>
                    <a:cubicBezTo>
                      <a:pt x="4827175" y="30766"/>
                      <a:pt x="4835271" y="40291"/>
                      <a:pt x="4846225" y="41053"/>
                    </a:cubicBezTo>
                    <a:cubicBezTo>
                      <a:pt x="4903375" y="45244"/>
                      <a:pt x="4959192" y="58198"/>
                      <a:pt x="5012151" y="79439"/>
                    </a:cubicBezTo>
                    <a:cubicBezTo>
                      <a:pt x="5014437" y="80391"/>
                      <a:pt x="5016913" y="80867"/>
                      <a:pt x="5019389" y="80867"/>
                    </a:cubicBezTo>
                    <a:close/>
                    <a:moveTo>
                      <a:pt x="4806410" y="5761101"/>
                    </a:moveTo>
                    <a:lnTo>
                      <a:pt x="4627055" y="5761101"/>
                    </a:lnTo>
                    <a:cubicBezTo>
                      <a:pt x="4616101" y="5761101"/>
                      <a:pt x="4607338" y="5769959"/>
                      <a:pt x="4607338" y="5780818"/>
                    </a:cubicBezTo>
                    <a:cubicBezTo>
                      <a:pt x="4607338" y="5791772"/>
                      <a:pt x="4616196" y="5800535"/>
                      <a:pt x="4627055" y="5800535"/>
                    </a:cubicBezTo>
                    <a:lnTo>
                      <a:pt x="4804410" y="5800535"/>
                    </a:lnTo>
                    <a:lnTo>
                      <a:pt x="4806315" y="5800535"/>
                    </a:lnTo>
                    <a:cubicBezTo>
                      <a:pt x="4817269" y="5800535"/>
                      <a:pt x="4826032" y="5791677"/>
                      <a:pt x="4826032" y="5780818"/>
                    </a:cubicBezTo>
                    <a:cubicBezTo>
                      <a:pt x="4826127" y="5769959"/>
                      <a:pt x="4817269" y="5761101"/>
                      <a:pt x="4806410" y="5761101"/>
                    </a:cubicBezTo>
                    <a:close/>
                    <a:moveTo>
                      <a:pt x="4335971" y="19717"/>
                    </a:moveTo>
                    <a:cubicBezTo>
                      <a:pt x="4335971" y="8763"/>
                      <a:pt x="4327113" y="0"/>
                      <a:pt x="4316254" y="0"/>
                    </a:cubicBezTo>
                    <a:lnTo>
                      <a:pt x="4139184" y="0"/>
                    </a:lnTo>
                    <a:cubicBezTo>
                      <a:pt x="4128230" y="0"/>
                      <a:pt x="4119467" y="8858"/>
                      <a:pt x="4119467" y="19717"/>
                    </a:cubicBezTo>
                    <a:cubicBezTo>
                      <a:pt x="4119467" y="30670"/>
                      <a:pt x="4128326" y="39434"/>
                      <a:pt x="4139184" y="39434"/>
                    </a:cubicBezTo>
                    <a:lnTo>
                      <a:pt x="4316254" y="39434"/>
                    </a:lnTo>
                    <a:cubicBezTo>
                      <a:pt x="4327113" y="39434"/>
                      <a:pt x="4335971" y="30670"/>
                      <a:pt x="4335971" y="19717"/>
                    </a:cubicBezTo>
                    <a:close/>
                    <a:moveTo>
                      <a:pt x="5126927" y="5658422"/>
                    </a:moveTo>
                    <a:cubicBezTo>
                      <a:pt x="5080159" y="5691569"/>
                      <a:pt x="5028914" y="5717191"/>
                      <a:pt x="4974622" y="5734622"/>
                    </a:cubicBezTo>
                    <a:cubicBezTo>
                      <a:pt x="4964240" y="5737956"/>
                      <a:pt x="4958525" y="5749100"/>
                      <a:pt x="4961858" y="5759482"/>
                    </a:cubicBezTo>
                    <a:cubicBezTo>
                      <a:pt x="4964526" y="5767864"/>
                      <a:pt x="4972336" y="5773198"/>
                      <a:pt x="4980718" y="5773198"/>
                    </a:cubicBezTo>
                    <a:cubicBezTo>
                      <a:pt x="4982718" y="5773198"/>
                      <a:pt x="4984719" y="5772912"/>
                      <a:pt x="4986719" y="5772245"/>
                    </a:cubicBezTo>
                    <a:cubicBezTo>
                      <a:pt x="5044917" y="5753577"/>
                      <a:pt x="5099876" y="5726145"/>
                      <a:pt x="5149882" y="5690616"/>
                    </a:cubicBezTo>
                    <a:cubicBezTo>
                      <a:pt x="5158740" y="5684330"/>
                      <a:pt x="5160931" y="5671947"/>
                      <a:pt x="5154549" y="5663089"/>
                    </a:cubicBezTo>
                    <a:cubicBezTo>
                      <a:pt x="5148167" y="5654231"/>
                      <a:pt x="5135785" y="5652135"/>
                      <a:pt x="5126927" y="5658422"/>
                    </a:cubicBezTo>
                    <a:close/>
                    <a:moveTo>
                      <a:pt x="4690206" y="19717"/>
                    </a:moveTo>
                    <a:cubicBezTo>
                      <a:pt x="4690206" y="8763"/>
                      <a:pt x="4681347" y="0"/>
                      <a:pt x="4670489" y="0"/>
                    </a:cubicBezTo>
                    <a:lnTo>
                      <a:pt x="4493419" y="0"/>
                    </a:lnTo>
                    <a:cubicBezTo>
                      <a:pt x="4482465" y="0"/>
                      <a:pt x="4473702" y="8858"/>
                      <a:pt x="4473702" y="19717"/>
                    </a:cubicBezTo>
                    <a:cubicBezTo>
                      <a:pt x="4473702" y="30670"/>
                      <a:pt x="4482560" y="39434"/>
                      <a:pt x="4493419" y="39434"/>
                    </a:cubicBezTo>
                    <a:lnTo>
                      <a:pt x="4670489" y="39434"/>
                    </a:lnTo>
                    <a:cubicBezTo>
                      <a:pt x="4681347" y="39434"/>
                      <a:pt x="4690206" y="30670"/>
                      <a:pt x="4690206" y="19717"/>
                    </a:cubicBezTo>
                    <a:close/>
                    <a:moveTo>
                      <a:pt x="4449890" y="5761101"/>
                    </a:moveTo>
                    <a:lnTo>
                      <a:pt x="4272820" y="5761101"/>
                    </a:lnTo>
                    <a:cubicBezTo>
                      <a:pt x="4261866" y="5761101"/>
                      <a:pt x="4253103" y="5769959"/>
                      <a:pt x="4253103" y="5780818"/>
                    </a:cubicBezTo>
                    <a:cubicBezTo>
                      <a:pt x="4253103" y="5791772"/>
                      <a:pt x="4261962" y="5800535"/>
                      <a:pt x="4272820" y="5800535"/>
                    </a:cubicBezTo>
                    <a:lnTo>
                      <a:pt x="4449890" y="5800535"/>
                    </a:lnTo>
                    <a:cubicBezTo>
                      <a:pt x="4460843" y="5800535"/>
                      <a:pt x="4469606" y="5791677"/>
                      <a:pt x="4469606" y="5780818"/>
                    </a:cubicBezTo>
                    <a:cubicBezTo>
                      <a:pt x="4469702" y="5769959"/>
                      <a:pt x="4460843" y="5761101"/>
                      <a:pt x="4449890" y="5761101"/>
                    </a:cubicBez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446"/>
                <a:endParaRPr lang="en-GB">
                  <a:solidFill>
                    <a:srgbClr val="000000"/>
                  </a:solidFill>
                  <a:latin typeface="Novo Apply Sans"/>
                </a:endParaRPr>
              </a:p>
            </p:txBody>
          </p:sp>
          <p:grpSp>
            <p:nvGrpSpPr>
              <p:cNvPr id="17" name="Graphic 383">
                <a:extLst>
                  <a:ext uri="{FF2B5EF4-FFF2-40B4-BE49-F238E27FC236}">
                    <a16:creationId xmlns:a16="http://schemas.microsoft.com/office/drawing/2014/main" id="{979BD5DB-3A89-4820-B116-81AD02D4D309}"/>
                  </a:ext>
                </a:extLst>
              </p:cNvPr>
              <p:cNvGrpSpPr/>
              <p:nvPr/>
            </p:nvGrpSpPr>
            <p:grpSpPr>
              <a:xfrm>
                <a:off x="3627515" y="4343400"/>
                <a:ext cx="665705" cy="1692866"/>
                <a:chOff x="9961530" y="2185987"/>
                <a:chExt cx="2327719" cy="5919311"/>
              </a:xfrm>
              <a:solidFill>
                <a:srgbClr val="FBB03B"/>
              </a:solidFill>
            </p:grpSpPr>
            <p:sp>
              <p:nvSpPr>
                <p:cNvPr id="18" name="Freeform: Shape 17">
                  <a:extLst>
                    <a:ext uri="{FF2B5EF4-FFF2-40B4-BE49-F238E27FC236}">
                      <a16:creationId xmlns:a16="http://schemas.microsoft.com/office/drawing/2014/main" id="{18DBA84A-8904-4F1C-AB75-DC5C6CC27DAD}"/>
                    </a:ext>
                  </a:extLst>
                </p:cNvPr>
                <p:cNvSpPr/>
                <p:nvPr/>
              </p:nvSpPr>
              <p:spPr>
                <a:xfrm>
                  <a:off x="9961530" y="2185987"/>
                  <a:ext cx="1500473" cy="5919311"/>
                </a:xfrm>
                <a:custGeom>
                  <a:avLst/>
                  <a:gdLst>
                    <a:gd name="connsiteX0" fmla="*/ 843344 w 1500473"/>
                    <a:gd name="connsiteY0" fmla="*/ 5919312 h 5919311"/>
                    <a:gd name="connsiteX1" fmla="*/ 0 w 1500473"/>
                    <a:gd name="connsiteY1" fmla="*/ 5919312 h 5919311"/>
                    <a:gd name="connsiteX2" fmla="*/ 0 w 1500473"/>
                    <a:gd name="connsiteY2" fmla="*/ 5761196 h 5919311"/>
                    <a:gd name="connsiteX3" fmla="*/ 843344 w 1500473"/>
                    <a:gd name="connsiteY3" fmla="*/ 5761196 h 5919311"/>
                    <a:gd name="connsiteX4" fmla="*/ 1342359 w 1500473"/>
                    <a:gd name="connsiteY4" fmla="*/ 5262182 h 5919311"/>
                    <a:gd name="connsiteX5" fmla="*/ 1342359 w 1500473"/>
                    <a:gd name="connsiteY5" fmla="*/ 657130 h 5919311"/>
                    <a:gd name="connsiteX6" fmla="*/ 843344 w 1500473"/>
                    <a:gd name="connsiteY6" fmla="*/ 158020 h 5919311"/>
                    <a:gd name="connsiteX7" fmla="*/ 3239 w 1500473"/>
                    <a:gd name="connsiteY7" fmla="*/ 158020 h 5919311"/>
                    <a:gd name="connsiteX8" fmla="*/ 3239 w 1500473"/>
                    <a:gd name="connsiteY8" fmla="*/ 0 h 5919311"/>
                    <a:gd name="connsiteX9" fmla="*/ 843344 w 1500473"/>
                    <a:gd name="connsiteY9" fmla="*/ 0 h 5919311"/>
                    <a:gd name="connsiteX10" fmla="*/ 1500473 w 1500473"/>
                    <a:gd name="connsiteY10" fmla="*/ 657130 h 5919311"/>
                    <a:gd name="connsiteX11" fmla="*/ 1500473 w 1500473"/>
                    <a:gd name="connsiteY11" fmla="*/ 5262087 h 5919311"/>
                    <a:gd name="connsiteX12" fmla="*/ 843344 w 1500473"/>
                    <a:gd name="connsiteY12" fmla="*/ 5919312 h 59193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500473" h="5919311">
                      <a:moveTo>
                        <a:pt x="843344" y="5919312"/>
                      </a:moveTo>
                      <a:lnTo>
                        <a:pt x="0" y="5919312"/>
                      </a:lnTo>
                      <a:lnTo>
                        <a:pt x="0" y="5761196"/>
                      </a:lnTo>
                      <a:lnTo>
                        <a:pt x="843344" y="5761196"/>
                      </a:lnTo>
                      <a:cubicBezTo>
                        <a:pt x="1118521" y="5761196"/>
                        <a:pt x="1342359" y="5537359"/>
                        <a:pt x="1342359" y="5262182"/>
                      </a:cubicBezTo>
                      <a:lnTo>
                        <a:pt x="1342359" y="657130"/>
                      </a:lnTo>
                      <a:cubicBezTo>
                        <a:pt x="1342359" y="381953"/>
                        <a:pt x="1118521" y="158020"/>
                        <a:pt x="843344" y="158020"/>
                      </a:cubicBezTo>
                      <a:lnTo>
                        <a:pt x="3239" y="158020"/>
                      </a:lnTo>
                      <a:lnTo>
                        <a:pt x="3239" y="0"/>
                      </a:lnTo>
                      <a:lnTo>
                        <a:pt x="843344" y="0"/>
                      </a:lnTo>
                      <a:cubicBezTo>
                        <a:pt x="1205674" y="0"/>
                        <a:pt x="1500473" y="294799"/>
                        <a:pt x="1500473" y="657130"/>
                      </a:cubicBezTo>
                      <a:lnTo>
                        <a:pt x="1500473" y="5262087"/>
                      </a:lnTo>
                      <a:cubicBezTo>
                        <a:pt x="1500569" y="5624513"/>
                        <a:pt x="1205770" y="5919312"/>
                        <a:pt x="843344" y="5919312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914446"/>
                  <a:endParaRPr lang="en-GB">
                    <a:solidFill>
                      <a:srgbClr val="000000"/>
                    </a:solidFill>
                    <a:latin typeface="Novo Apply Sans"/>
                  </a:endParaRPr>
                </a:p>
              </p:txBody>
            </p:sp>
            <p:sp>
              <p:nvSpPr>
                <p:cNvPr id="19" name="Freeform: Shape 18">
                  <a:extLst>
                    <a:ext uri="{FF2B5EF4-FFF2-40B4-BE49-F238E27FC236}">
                      <a16:creationId xmlns:a16="http://schemas.microsoft.com/office/drawing/2014/main" id="{51078227-7544-4F21-B035-F600B57D1D41}"/>
                    </a:ext>
                  </a:extLst>
                </p:cNvPr>
                <p:cNvSpPr/>
                <p:nvPr/>
              </p:nvSpPr>
              <p:spPr>
                <a:xfrm>
                  <a:off x="11775852" y="4835842"/>
                  <a:ext cx="513397" cy="621315"/>
                </a:xfrm>
                <a:custGeom>
                  <a:avLst/>
                  <a:gdLst>
                    <a:gd name="connsiteX0" fmla="*/ 513398 w 513397"/>
                    <a:gd name="connsiteY0" fmla="*/ 310610 h 621315"/>
                    <a:gd name="connsiteX1" fmla="*/ 0 w 513397"/>
                    <a:gd name="connsiteY1" fmla="*/ 0 h 621315"/>
                    <a:gd name="connsiteX2" fmla="*/ 0 w 513397"/>
                    <a:gd name="connsiteY2" fmla="*/ 621316 h 6213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13397" h="621315">
                      <a:moveTo>
                        <a:pt x="513398" y="310610"/>
                      </a:moveTo>
                      <a:lnTo>
                        <a:pt x="0" y="0"/>
                      </a:lnTo>
                      <a:lnTo>
                        <a:pt x="0" y="621316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914446"/>
                  <a:endParaRPr lang="en-GB">
                    <a:solidFill>
                      <a:srgbClr val="000000"/>
                    </a:solidFill>
                    <a:latin typeface="Novo Apply Sans"/>
                  </a:endParaRPr>
                </a:p>
              </p:txBody>
            </p:sp>
            <p:sp>
              <p:nvSpPr>
                <p:cNvPr id="20" name="Freeform: Shape 19">
                  <a:extLst>
                    <a:ext uri="{FF2B5EF4-FFF2-40B4-BE49-F238E27FC236}">
                      <a16:creationId xmlns:a16="http://schemas.microsoft.com/office/drawing/2014/main" id="{01A83CA0-2A33-4C05-9342-87ED4AE0612C}"/>
                    </a:ext>
                  </a:extLst>
                </p:cNvPr>
                <p:cNvSpPr/>
                <p:nvPr/>
              </p:nvSpPr>
              <p:spPr>
                <a:xfrm>
                  <a:off x="11329701" y="5041296"/>
                  <a:ext cx="740092" cy="210311"/>
                </a:xfrm>
                <a:custGeom>
                  <a:avLst/>
                  <a:gdLst>
                    <a:gd name="connsiteX0" fmla="*/ 0 w 740092"/>
                    <a:gd name="connsiteY0" fmla="*/ 0 h 210311"/>
                    <a:gd name="connsiteX1" fmla="*/ 740092 w 740092"/>
                    <a:gd name="connsiteY1" fmla="*/ 0 h 210311"/>
                    <a:gd name="connsiteX2" fmla="*/ 740092 w 740092"/>
                    <a:gd name="connsiteY2" fmla="*/ 210312 h 210311"/>
                    <a:gd name="connsiteX3" fmla="*/ 0 w 740092"/>
                    <a:gd name="connsiteY3" fmla="*/ 210312 h 2103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40092" h="210311">
                      <a:moveTo>
                        <a:pt x="0" y="0"/>
                      </a:moveTo>
                      <a:lnTo>
                        <a:pt x="740092" y="0"/>
                      </a:lnTo>
                      <a:lnTo>
                        <a:pt x="740092" y="210312"/>
                      </a:lnTo>
                      <a:lnTo>
                        <a:pt x="0" y="210312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914446"/>
                  <a:endParaRPr lang="en-GB">
                    <a:solidFill>
                      <a:srgbClr val="000000"/>
                    </a:solidFill>
                    <a:latin typeface="Novo Apply Sans"/>
                  </a:endParaRPr>
                </a:p>
              </p:txBody>
            </p:sp>
          </p:grpSp>
        </p:grpSp>
        <p:pic>
          <p:nvPicPr>
            <p:cNvPr id="78" name="Graphic 77">
              <a:extLst>
                <a:ext uri="{FF2B5EF4-FFF2-40B4-BE49-F238E27FC236}">
                  <a16:creationId xmlns:a16="http://schemas.microsoft.com/office/drawing/2014/main" id="{1CAE6F05-5F03-45A5-ADA2-AE6AAA96E8E3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2767723" y="4487385"/>
              <a:ext cx="676275" cy="676275"/>
            </a:xfrm>
            <a:prstGeom prst="rect">
              <a:avLst/>
            </a:prstGeom>
          </p:spPr>
        </p:pic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4379B4B9-E352-4347-BC63-35B54D5EE57E}"/>
                </a:ext>
              </a:extLst>
            </p:cNvPr>
            <p:cNvSpPr>
              <a:spLocks/>
            </p:cNvSpPr>
            <p:nvPr/>
          </p:nvSpPr>
          <p:spPr>
            <a:xfrm>
              <a:off x="2336883" y="5148497"/>
              <a:ext cx="1474607" cy="9258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914446">
                <a:lnSpc>
                  <a:spcPts val="1400"/>
                </a:lnSpc>
              </a:pPr>
              <a:r>
                <a:rPr lang="en-GB" sz="1067" b="1" dirty="0">
                  <a:solidFill>
                    <a:srgbClr val="001965"/>
                  </a:solidFill>
                  <a:latin typeface="Novo Apply Sans" panose="020F0502020204030204" pitchFamily="34" charset="0"/>
                </a:rPr>
                <a:t>Research centres and  grants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08799F14-1D12-4584-BC0F-A372A14F4F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We fully support the life science cycle </a:t>
            </a:r>
            <a:br>
              <a:rPr lang="en-GB" dirty="0"/>
            </a:br>
            <a:r>
              <a:rPr lang="en-GB" sz="2133" dirty="0"/>
              <a:t>- from basic education and research through innovation, start-ups and globally leading companies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5B100B7-FB8C-4BFA-8DD9-135AAF59C5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46"/>
            <a:endParaRPr lang="en-GB" dirty="0">
              <a:solidFill>
                <a:srgbClr val="001965"/>
              </a:solidFill>
              <a:latin typeface="Novo Apply San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9FC1EA-B2A7-4D58-A7CF-993431EC4F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46"/>
            <a:fld id="{4D833E3B-2778-42F4-9ABB-9F6DE98C7B48}" type="slidenum">
              <a:rPr lang="en-GB">
                <a:solidFill>
                  <a:srgbClr val="001965"/>
                </a:solidFill>
                <a:latin typeface="Novo Apply Sans"/>
              </a:rPr>
              <a:pPr defTabSz="914446"/>
              <a:t>6</a:t>
            </a:fld>
            <a:endParaRPr lang="en-GB" dirty="0">
              <a:solidFill>
                <a:srgbClr val="001965"/>
              </a:solidFill>
              <a:latin typeface="Novo Apply Sans"/>
            </a:endParaRPr>
          </a:p>
        </p:txBody>
      </p:sp>
      <p:grpSp>
        <p:nvGrpSpPr>
          <p:cNvPr id="136" name="Group 135">
            <a:extLst>
              <a:ext uri="{FF2B5EF4-FFF2-40B4-BE49-F238E27FC236}">
                <a16:creationId xmlns:a16="http://schemas.microsoft.com/office/drawing/2014/main" id="{6709321C-2FCB-4C7D-81EB-951CF6B4570A}"/>
              </a:ext>
            </a:extLst>
          </p:cNvPr>
          <p:cNvGrpSpPr/>
          <p:nvPr/>
        </p:nvGrpSpPr>
        <p:grpSpPr>
          <a:xfrm>
            <a:off x="761618" y="2784239"/>
            <a:ext cx="1435580" cy="1351299"/>
            <a:chOff x="162748" y="4176359"/>
            <a:chExt cx="2153370" cy="2026948"/>
          </a:xfrm>
        </p:grpSpPr>
        <p:grpSp>
          <p:nvGrpSpPr>
            <p:cNvPr id="118" name="Group 117">
              <a:extLst>
                <a:ext uri="{FF2B5EF4-FFF2-40B4-BE49-F238E27FC236}">
                  <a16:creationId xmlns:a16="http://schemas.microsoft.com/office/drawing/2014/main" id="{AD0A5FE5-FFEF-4915-9DE7-158FB3D67F99}"/>
                </a:ext>
              </a:extLst>
            </p:cNvPr>
            <p:cNvGrpSpPr>
              <a:grpSpLocks/>
            </p:cNvGrpSpPr>
            <p:nvPr/>
          </p:nvGrpSpPr>
          <p:grpSpPr>
            <a:xfrm>
              <a:off x="162748" y="4176359"/>
              <a:ext cx="2153370" cy="2026948"/>
              <a:chOff x="538163" y="4343400"/>
              <a:chExt cx="1798450" cy="1692866"/>
            </a:xfrm>
          </p:grpSpPr>
          <p:sp>
            <p:nvSpPr>
              <p:cNvPr id="6" name="Freeform: Shape 5">
                <a:extLst>
                  <a:ext uri="{FF2B5EF4-FFF2-40B4-BE49-F238E27FC236}">
                    <a16:creationId xmlns:a16="http://schemas.microsoft.com/office/drawing/2014/main" id="{2F87E01F-A451-45BF-B1FA-761C0577742B}"/>
                  </a:ext>
                </a:extLst>
              </p:cNvPr>
              <p:cNvSpPr/>
              <p:nvPr/>
            </p:nvSpPr>
            <p:spPr>
              <a:xfrm>
                <a:off x="668019" y="4491916"/>
                <a:ext cx="1299213" cy="1395807"/>
              </a:xfrm>
              <a:custGeom>
                <a:avLst/>
                <a:gdLst>
                  <a:gd name="connsiteX0" fmla="*/ 3985641 w 4542853"/>
                  <a:gd name="connsiteY0" fmla="*/ 4880610 h 4880609"/>
                  <a:gd name="connsiteX1" fmla="*/ 557308 w 4542853"/>
                  <a:gd name="connsiteY1" fmla="*/ 4880610 h 4880609"/>
                  <a:gd name="connsiteX2" fmla="*/ 0 w 4542853"/>
                  <a:gd name="connsiteY2" fmla="*/ 4323303 h 4880609"/>
                  <a:gd name="connsiteX3" fmla="*/ 0 w 4542853"/>
                  <a:gd name="connsiteY3" fmla="*/ 557308 h 4880609"/>
                  <a:gd name="connsiteX4" fmla="*/ 557308 w 4542853"/>
                  <a:gd name="connsiteY4" fmla="*/ 0 h 4880609"/>
                  <a:gd name="connsiteX5" fmla="*/ 3985546 w 4542853"/>
                  <a:gd name="connsiteY5" fmla="*/ 0 h 4880609"/>
                  <a:gd name="connsiteX6" fmla="*/ 4542854 w 4542853"/>
                  <a:gd name="connsiteY6" fmla="*/ 557308 h 4880609"/>
                  <a:gd name="connsiteX7" fmla="*/ 4542854 w 4542853"/>
                  <a:gd name="connsiteY7" fmla="*/ 4323303 h 4880609"/>
                  <a:gd name="connsiteX8" fmla="*/ 3985641 w 4542853"/>
                  <a:gd name="connsiteY8" fmla="*/ 4880610 h 48806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42853" h="4880609">
                    <a:moveTo>
                      <a:pt x="3985641" y="4880610"/>
                    </a:moveTo>
                    <a:lnTo>
                      <a:pt x="557308" y="4880610"/>
                    </a:lnTo>
                    <a:cubicBezTo>
                      <a:pt x="249555" y="4880610"/>
                      <a:pt x="0" y="4631150"/>
                      <a:pt x="0" y="4323303"/>
                    </a:cubicBezTo>
                    <a:lnTo>
                      <a:pt x="0" y="557308"/>
                    </a:lnTo>
                    <a:cubicBezTo>
                      <a:pt x="0" y="249555"/>
                      <a:pt x="249460" y="0"/>
                      <a:pt x="557308" y="0"/>
                    </a:cubicBezTo>
                    <a:lnTo>
                      <a:pt x="3985546" y="0"/>
                    </a:lnTo>
                    <a:cubicBezTo>
                      <a:pt x="4293299" y="0"/>
                      <a:pt x="4542854" y="249460"/>
                      <a:pt x="4542854" y="557308"/>
                    </a:cubicBezTo>
                    <a:lnTo>
                      <a:pt x="4542854" y="4323303"/>
                    </a:lnTo>
                    <a:cubicBezTo>
                      <a:pt x="4542854" y="4631055"/>
                      <a:pt x="4293394" y="4880610"/>
                      <a:pt x="3985641" y="4880610"/>
                    </a:cubicBezTo>
                    <a:close/>
                  </a:path>
                </a:pathLst>
              </a:custGeom>
              <a:solidFill>
                <a:srgbClr val="CCCCC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446"/>
                <a:endParaRPr lang="en-GB">
                  <a:solidFill>
                    <a:srgbClr val="000000"/>
                  </a:solidFill>
                  <a:latin typeface="Novo Apply Sans"/>
                </a:endParaRPr>
              </a:p>
            </p:txBody>
          </p:sp>
          <p:sp>
            <p:nvSpPr>
              <p:cNvPr id="7" name="Freeform: Shape 6">
                <a:extLst>
                  <a:ext uri="{FF2B5EF4-FFF2-40B4-BE49-F238E27FC236}">
                    <a16:creationId xmlns:a16="http://schemas.microsoft.com/office/drawing/2014/main" id="{E6492693-00A1-4688-85D3-16B456C8C72E}"/>
                  </a:ext>
                </a:extLst>
              </p:cNvPr>
              <p:cNvSpPr/>
              <p:nvPr/>
            </p:nvSpPr>
            <p:spPr>
              <a:xfrm>
                <a:off x="667447" y="4498835"/>
                <a:ext cx="1286355" cy="1381969"/>
              </a:xfrm>
              <a:custGeom>
                <a:avLst/>
                <a:gdLst>
                  <a:gd name="connsiteX0" fmla="*/ 3940588 w 4497895"/>
                  <a:gd name="connsiteY0" fmla="*/ 4832223 h 4832223"/>
                  <a:gd name="connsiteX1" fmla="*/ 557308 w 4497895"/>
                  <a:gd name="connsiteY1" fmla="*/ 4832223 h 4832223"/>
                  <a:gd name="connsiteX2" fmla="*/ 0 w 4497895"/>
                  <a:gd name="connsiteY2" fmla="*/ 4274915 h 4832223"/>
                  <a:gd name="connsiteX3" fmla="*/ 0 w 4497895"/>
                  <a:gd name="connsiteY3" fmla="*/ 557308 h 4832223"/>
                  <a:gd name="connsiteX4" fmla="*/ 557308 w 4497895"/>
                  <a:gd name="connsiteY4" fmla="*/ 0 h 4832223"/>
                  <a:gd name="connsiteX5" fmla="*/ 3940588 w 4497895"/>
                  <a:gd name="connsiteY5" fmla="*/ 0 h 4832223"/>
                  <a:gd name="connsiteX6" fmla="*/ 4497896 w 4497895"/>
                  <a:gd name="connsiteY6" fmla="*/ 557308 h 4832223"/>
                  <a:gd name="connsiteX7" fmla="*/ 4497896 w 4497895"/>
                  <a:gd name="connsiteY7" fmla="*/ 4275011 h 4832223"/>
                  <a:gd name="connsiteX8" fmla="*/ 3940588 w 4497895"/>
                  <a:gd name="connsiteY8" fmla="*/ 4832223 h 48322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497895" h="4832223">
                    <a:moveTo>
                      <a:pt x="3940588" y="4832223"/>
                    </a:moveTo>
                    <a:lnTo>
                      <a:pt x="557308" y="4832223"/>
                    </a:lnTo>
                    <a:cubicBezTo>
                      <a:pt x="249555" y="4832223"/>
                      <a:pt x="0" y="4582764"/>
                      <a:pt x="0" y="4274915"/>
                    </a:cubicBezTo>
                    <a:lnTo>
                      <a:pt x="0" y="557308"/>
                    </a:lnTo>
                    <a:cubicBezTo>
                      <a:pt x="0" y="249555"/>
                      <a:pt x="249460" y="0"/>
                      <a:pt x="557308" y="0"/>
                    </a:cubicBezTo>
                    <a:lnTo>
                      <a:pt x="3940588" y="0"/>
                    </a:lnTo>
                    <a:cubicBezTo>
                      <a:pt x="4248341" y="0"/>
                      <a:pt x="4497896" y="249460"/>
                      <a:pt x="4497896" y="557308"/>
                    </a:cubicBezTo>
                    <a:lnTo>
                      <a:pt x="4497896" y="4275011"/>
                    </a:lnTo>
                    <a:cubicBezTo>
                      <a:pt x="4497896" y="4582764"/>
                      <a:pt x="4248341" y="4832223"/>
                      <a:pt x="3940588" y="4832223"/>
                    </a:cubicBezTo>
                    <a:close/>
                  </a:path>
                </a:pathLst>
              </a:custGeom>
              <a:solidFill>
                <a:srgbClr val="F2F2F2"/>
              </a:solidFill>
              <a:ln w="9525" cap="flat">
                <a:noFill/>
                <a:prstDash val="solid"/>
                <a:miter/>
              </a:ln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defTabSz="914446"/>
                <a:endParaRPr lang="en-GB">
                  <a:solidFill>
                    <a:srgbClr val="000000"/>
                  </a:solidFill>
                  <a:latin typeface="Novo Apply Sans"/>
                </a:endParaRPr>
              </a:p>
            </p:txBody>
          </p:sp>
          <p:sp>
            <p:nvSpPr>
              <p:cNvPr id="8" name="Freeform: Shape 7">
                <a:extLst>
                  <a:ext uri="{FF2B5EF4-FFF2-40B4-BE49-F238E27FC236}">
                    <a16:creationId xmlns:a16="http://schemas.microsoft.com/office/drawing/2014/main" id="{2635A2CC-529F-4FB0-A139-8CC7C366574D}"/>
                  </a:ext>
                </a:extLst>
              </p:cNvPr>
              <p:cNvSpPr/>
              <p:nvPr/>
            </p:nvSpPr>
            <p:spPr>
              <a:xfrm>
                <a:off x="538163" y="4360371"/>
                <a:ext cx="1544923" cy="1658897"/>
              </a:xfrm>
              <a:custGeom>
                <a:avLst/>
                <a:gdLst>
                  <a:gd name="connsiteX0" fmla="*/ 1147858 w 5402008"/>
                  <a:gd name="connsiteY0" fmla="*/ 19717 h 5800534"/>
                  <a:gd name="connsiteX1" fmla="*/ 1128141 w 5402008"/>
                  <a:gd name="connsiteY1" fmla="*/ 0 h 5800534"/>
                  <a:gd name="connsiteX2" fmla="*/ 950976 w 5402008"/>
                  <a:gd name="connsiteY2" fmla="*/ 0 h 5800534"/>
                  <a:gd name="connsiteX3" fmla="*/ 931259 w 5402008"/>
                  <a:gd name="connsiteY3" fmla="*/ 19717 h 5800534"/>
                  <a:gd name="connsiteX4" fmla="*/ 950976 w 5402008"/>
                  <a:gd name="connsiteY4" fmla="*/ 39434 h 5800534"/>
                  <a:gd name="connsiteX5" fmla="*/ 1128141 w 5402008"/>
                  <a:gd name="connsiteY5" fmla="*/ 39434 h 5800534"/>
                  <a:gd name="connsiteX6" fmla="*/ 1147858 w 5402008"/>
                  <a:gd name="connsiteY6" fmla="*/ 19717 h 5800534"/>
                  <a:gd name="connsiteX7" fmla="*/ 1261872 w 5402008"/>
                  <a:gd name="connsiteY7" fmla="*/ 5761101 h 5800534"/>
                  <a:gd name="connsiteX8" fmla="*/ 1084707 w 5402008"/>
                  <a:gd name="connsiteY8" fmla="*/ 5761101 h 5800534"/>
                  <a:gd name="connsiteX9" fmla="*/ 1064990 w 5402008"/>
                  <a:gd name="connsiteY9" fmla="*/ 5780818 h 5800534"/>
                  <a:gd name="connsiteX10" fmla="*/ 1084707 w 5402008"/>
                  <a:gd name="connsiteY10" fmla="*/ 5800535 h 5800534"/>
                  <a:gd name="connsiteX11" fmla="*/ 1261872 w 5402008"/>
                  <a:gd name="connsiteY11" fmla="*/ 5800535 h 5800534"/>
                  <a:gd name="connsiteX12" fmla="*/ 1281589 w 5402008"/>
                  <a:gd name="connsiteY12" fmla="*/ 5780818 h 5800534"/>
                  <a:gd name="connsiteX13" fmla="*/ 1261872 w 5402008"/>
                  <a:gd name="connsiteY13" fmla="*/ 5761101 h 5800534"/>
                  <a:gd name="connsiteX14" fmla="*/ 907637 w 5402008"/>
                  <a:gd name="connsiteY14" fmla="*/ 5761101 h 5800534"/>
                  <a:gd name="connsiteX15" fmla="*/ 730472 w 5402008"/>
                  <a:gd name="connsiteY15" fmla="*/ 5761101 h 5800534"/>
                  <a:gd name="connsiteX16" fmla="*/ 710756 w 5402008"/>
                  <a:gd name="connsiteY16" fmla="*/ 5780818 h 5800534"/>
                  <a:gd name="connsiteX17" fmla="*/ 730472 w 5402008"/>
                  <a:gd name="connsiteY17" fmla="*/ 5800535 h 5800534"/>
                  <a:gd name="connsiteX18" fmla="*/ 907637 w 5402008"/>
                  <a:gd name="connsiteY18" fmla="*/ 5800535 h 5800534"/>
                  <a:gd name="connsiteX19" fmla="*/ 927354 w 5402008"/>
                  <a:gd name="connsiteY19" fmla="*/ 5780818 h 5800534"/>
                  <a:gd name="connsiteX20" fmla="*/ 907637 w 5402008"/>
                  <a:gd name="connsiteY20" fmla="*/ 5761101 h 5800534"/>
                  <a:gd name="connsiteX21" fmla="*/ 441293 w 5402008"/>
                  <a:gd name="connsiteY21" fmla="*/ 40767 h 5800534"/>
                  <a:gd name="connsiteX22" fmla="*/ 416433 w 5402008"/>
                  <a:gd name="connsiteY22" fmla="*/ 27908 h 5800534"/>
                  <a:gd name="connsiteX23" fmla="*/ 253079 w 5402008"/>
                  <a:gd name="connsiteY23" fmla="*/ 109157 h 5800534"/>
                  <a:gd name="connsiteX24" fmla="*/ 248317 w 5402008"/>
                  <a:gd name="connsiteY24" fmla="*/ 136684 h 5800534"/>
                  <a:gd name="connsiteX25" fmla="*/ 264509 w 5402008"/>
                  <a:gd name="connsiteY25" fmla="*/ 145066 h 5800534"/>
                  <a:gd name="connsiteX26" fmla="*/ 275939 w 5402008"/>
                  <a:gd name="connsiteY26" fmla="*/ 141446 h 5800534"/>
                  <a:gd name="connsiteX27" fmla="*/ 428435 w 5402008"/>
                  <a:gd name="connsiteY27" fmla="*/ 65532 h 5800534"/>
                  <a:gd name="connsiteX28" fmla="*/ 441293 w 5402008"/>
                  <a:gd name="connsiteY28" fmla="*/ 40767 h 5800534"/>
                  <a:gd name="connsiteX29" fmla="*/ 2678716 w 5402008"/>
                  <a:gd name="connsiteY29" fmla="*/ 5761101 h 5800534"/>
                  <a:gd name="connsiteX30" fmla="*/ 2501551 w 5402008"/>
                  <a:gd name="connsiteY30" fmla="*/ 5761101 h 5800534"/>
                  <a:gd name="connsiteX31" fmla="*/ 2481834 w 5402008"/>
                  <a:gd name="connsiteY31" fmla="*/ 5780818 h 5800534"/>
                  <a:gd name="connsiteX32" fmla="*/ 2501551 w 5402008"/>
                  <a:gd name="connsiteY32" fmla="*/ 5800535 h 5800534"/>
                  <a:gd name="connsiteX33" fmla="*/ 2678716 w 5402008"/>
                  <a:gd name="connsiteY33" fmla="*/ 5800535 h 5800534"/>
                  <a:gd name="connsiteX34" fmla="*/ 2698433 w 5402008"/>
                  <a:gd name="connsiteY34" fmla="*/ 5780818 h 5800534"/>
                  <a:gd name="connsiteX35" fmla="*/ 2678716 w 5402008"/>
                  <a:gd name="connsiteY35" fmla="*/ 5761101 h 5800534"/>
                  <a:gd name="connsiteX36" fmla="*/ 793623 w 5402008"/>
                  <a:gd name="connsiteY36" fmla="*/ 19717 h 5800534"/>
                  <a:gd name="connsiteX37" fmla="*/ 773906 w 5402008"/>
                  <a:gd name="connsiteY37" fmla="*/ 0 h 5800534"/>
                  <a:gd name="connsiteX38" fmla="*/ 596741 w 5402008"/>
                  <a:gd name="connsiteY38" fmla="*/ 0 h 5800534"/>
                  <a:gd name="connsiteX39" fmla="*/ 577025 w 5402008"/>
                  <a:gd name="connsiteY39" fmla="*/ 19717 h 5800534"/>
                  <a:gd name="connsiteX40" fmla="*/ 596741 w 5402008"/>
                  <a:gd name="connsiteY40" fmla="*/ 39434 h 5800534"/>
                  <a:gd name="connsiteX41" fmla="*/ 773906 w 5402008"/>
                  <a:gd name="connsiteY41" fmla="*/ 39434 h 5800534"/>
                  <a:gd name="connsiteX42" fmla="*/ 793623 w 5402008"/>
                  <a:gd name="connsiteY42" fmla="*/ 19717 h 5800534"/>
                  <a:gd name="connsiteX43" fmla="*/ 1502093 w 5402008"/>
                  <a:gd name="connsiteY43" fmla="*/ 19717 h 5800534"/>
                  <a:gd name="connsiteX44" fmla="*/ 1482376 w 5402008"/>
                  <a:gd name="connsiteY44" fmla="*/ 0 h 5800534"/>
                  <a:gd name="connsiteX45" fmla="*/ 1305306 w 5402008"/>
                  <a:gd name="connsiteY45" fmla="*/ 0 h 5800534"/>
                  <a:gd name="connsiteX46" fmla="*/ 1285589 w 5402008"/>
                  <a:gd name="connsiteY46" fmla="*/ 19717 h 5800534"/>
                  <a:gd name="connsiteX47" fmla="*/ 1305306 w 5402008"/>
                  <a:gd name="connsiteY47" fmla="*/ 39434 h 5800534"/>
                  <a:gd name="connsiteX48" fmla="*/ 1482376 w 5402008"/>
                  <a:gd name="connsiteY48" fmla="*/ 39434 h 5800534"/>
                  <a:gd name="connsiteX49" fmla="*/ 1502093 w 5402008"/>
                  <a:gd name="connsiteY49" fmla="*/ 19717 h 5800534"/>
                  <a:gd name="connsiteX50" fmla="*/ 2324481 w 5402008"/>
                  <a:gd name="connsiteY50" fmla="*/ 5761101 h 5800534"/>
                  <a:gd name="connsiteX51" fmla="*/ 2147316 w 5402008"/>
                  <a:gd name="connsiteY51" fmla="*/ 5761101 h 5800534"/>
                  <a:gd name="connsiteX52" fmla="*/ 2127599 w 5402008"/>
                  <a:gd name="connsiteY52" fmla="*/ 5780818 h 5800534"/>
                  <a:gd name="connsiteX53" fmla="*/ 2147316 w 5402008"/>
                  <a:gd name="connsiteY53" fmla="*/ 5800535 h 5800534"/>
                  <a:gd name="connsiteX54" fmla="*/ 2324481 w 5402008"/>
                  <a:gd name="connsiteY54" fmla="*/ 5800535 h 5800534"/>
                  <a:gd name="connsiteX55" fmla="*/ 2344198 w 5402008"/>
                  <a:gd name="connsiteY55" fmla="*/ 5780818 h 5800534"/>
                  <a:gd name="connsiteX56" fmla="*/ 2324481 w 5402008"/>
                  <a:gd name="connsiteY56" fmla="*/ 5761101 h 5800534"/>
                  <a:gd name="connsiteX57" fmla="*/ 2564797 w 5402008"/>
                  <a:gd name="connsiteY57" fmla="*/ 19717 h 5800534"/>
                  <a:gd name="connsiteX58" fmla="*/ 2545080 w 5402008"/>
                  <a:gd name="connsiteY58" fmla="*/ 0 h 5800534"/>
                  <a:gd name="connsiteX59" fmla="*/ 2367915 w 5402008"/>
                  <a:gd name="connsiteY59" fmla="*/ 0 h 5800534"/>
                  <a:gd name="connsiteX60" fmla="*/ 2348198 w 5402008"/>
                  <a:gd name="connsiteY60" fmla="*/ 19717 h 5800534"/>
                  <a:gd name="connsiteX61" fmla="*/ 2367915 w 5402008"/>
                  <a:gd name="connsiteY61" fmla="*/ 39434 h 5800534"/>
                  <a:gd name="connsiteX62" fmla="*/ 2545080 w 5402008"/>
                  <a:gd name="connsiteY62" fmla="*/ 39434 h 5800534"/>
                  <a:gd name="connsiteX63" fmla="*/ 2564797 w 5402008"/>
                  <a:gd name="connsiteY63" fmla="*/ 19717 h 5800534"/>
                  <a:gd name="connsiteX64" fmla="*/ 129254 w 5402008"/>
                  <a:gd name="connsiteY64" fmla="*/ 5506403 h 5800534"/>
                  <a:gd name="connsiteX65" fmla="*/ 101918 w 5402008"/>
                  <a:gd name="connsiteY65" fmla="*/ 5500592 h 5800534"/>
                  <a:gd name="connsiteX66" fmla="*/ 96107 w 5402008"/>
                  <a:gd name="connsiteY66" fmla="*/ 5527930 h 5800534"/>
                  <a:gd name="connsiteX67" fmla="*/ 217551 w 5402008"/>
                  <a:gd name="connsiteY67" fmla="*/ 5664042 h 5800534"/>
                  <a:gd name="connsiteX68" fmla="*/ 230124 w 5402008"/>
                  <a:gd name="connsiteY68" fmla="*/ 5668613 h 5800534"/>
                  <a:gd name="connsiteX69" fmla="*/ 245364 w 5402008"/>
                  <a:gd name="connsiteY69" fmla="*/ 5661470 h 5800534"/>
                  <a:gd name="connsiteX70" fmla="*/ 242697 w 5402008"/>
                  <a:gd name="connsiteY70" fmla="*/ 5633657 h 5800534"/>
                  <a:gd name="connsiteX71" fmla="*/ 129254 w 5402008"/>
                  <a:gd name="connsiteY71" fmla="*/ 5506403 h 5800534"/>
                  <a:gd name="connsiteX72" fmla="*/ 2210562 w 5402008"/>
                  <a:gd name="connsiteY72" fmla="*/ 19717 h 5800534"/>
                  <a:gd name="connsiteX73" fmla="*/ 2190845 w 5402008"/>
                  <a:gd name="connsiteY73" fmla="*/ 0 h 5800534"/>
                  <a:gd name="connsiteX74" fmla="*/ 2013776 w 5402008"/>
                  <a:gd name="connsiteY74" fmla="*/ 0 h 5800534"/>
                  <a:gd name="connsiteX75" fmla="*/ 1994059 w 5402008"/>
                  <a:gd name="connsiteY75" fmla="*/ 19717 h 5800534"/>
                  <a:gd name="connsiteX76" fmla="*/ 2013776 w 5402008"/>
                  <a:gd name="connsiteY76" fmla="*/ 39434 h 5800534"/>
                  <a:gd name="connsiteX77" fmla="*/ 2190845 w 5402008"/>
                  <a:gd name="connsiteY77" fmla="*/ 39434 h 5800534"/>
                  <a:gd name="connsiteX78" fmla="*/ 2210562 w 5402008"/>
                  <a:gd name="connsiteY78" fmla="*/ 19717 h 5800534"/>
                  <a:gd name="connsiteX79" fmla="*/ 1970246 w 5402008"/>
                  <a:gd name="connsiteY79" fmla="*/ 5761101 h 5800534"/>
                  <a:gd name="connsiteX80" fmla="*/ 1793177 w 5402008"/>
                  <a:gd name="connsiteY80" fmla="*/ 5761101 h 5800534"/>
                  <a:gd name="connsiteX81" fmla="*/ 1773460 w 5402008"/>
                  <a:gd name="connsiteY81" fmla="*/ 5780818 h 5800534"/>
                  <a:gd name="connsiteX82" fmla="*/ 1793177 w 5402008"/>
                  <a:gd name="connsiteY82" fmla="*/ 5800535 h 5800534"/>
                  <a:gd name="connsiteX83" fmla="*/ 1970246 w 5402008"/>
                  <a:gd name="connsiteY83" fmla="*/ 5800535 h 5800534"/>
                  <a:gd name="connsiteX84" fmla="*/ 1989963 w 5402008"/>
                  <a:gd name="connsiteY84" fmla="*/ 5780818 h 5800534"/>
                  <a:gd name="connsiteX85" fmla="*/ 1970246 w 5402008"/>
                  <a:gd name="connsiteY85" fmla="*/ 5761101 h 5800534"/>
                  <a:gd name="connsiteX86" fmla="*/ 1616012 w 5402008"/>
                  <a:gd name="connsiteY86" fmla="*/ 5761101 h 5800534"/>
                  <a:gd name="connsiteX87" fmla="*/ 1438942 w 5402008"/>
                  <a:gd name="connsiteY87" fmla="*/ 5761101 h 5800534"/>
                  <a:gd name="connsiteX88" fmla="*/ 1419225 w 5402008"/>
                  <a:gd name="connsiteY88" fmla="*/ 5780818 h 5800534"/>
                  <a:gd name="connsiteX89" fmla="*/ 1438942 w 5402008"/>
                  <a:gd name="connsiteY89" fmla="*/ 5800535 h 5800534"/>
                  <a:gd name="connsiteX90" fmla="*/ 1616012 w 5402008"/>
                  <a:gd name="connsiteY90" fmla="*/ 5800535 h 5800534"/>
                  <a:gd name="connsiteX91" fmla="*/ 1635728 w 5402008"/>
                  <a:gd name="connsiteY91" fmla="*/ 5780818 h 5800534"/>
                  <a:gd name="connsiteX92" fmla="*/ 1616012 w 5402008"/>
                  <a:gd name="connsiteY92" fmla="*/ 5761101 h 5800534"/>
                  <a:gd name="connsiteX93" fmla="*/ 1856327 w 5402008"/>
                  <a:gd name="connsiteY93" fmla="*/ 19717 h 5800534"/>
                  <a:gd name="connsiteX94" fmla="*/ 1836611 w 5402008"/>
                  <a:gd name="connsiteY94" fmla="*/ 0 h 5800534"/>
                  <a:gd name="connsiteX95" fmla="*/ 1659541 w 5402008"/>
                  <a:gd name="connsiteY95" fmla="*/ 0 h 5800534"/>
                  <a:gd name="connsiteX96" fmla="*/ 1639824 w 5402008"/>
                  <a:gd name="connsiteY96" fmla="*/ 19717 h 5800534"/>
                  <a:gd name="connsiteX97" fmla="*/ 1659541 w 5402008"/>
                  <a:gd name="connsiteY97" fmla="*/ 39434 h 5800534"/>
                  <a:gd name="connsiteX98" fmla="*/ 1836611 w 5402008"/>
                  <a:gd name="connsiteY98" fmla="*/ 39434 h 5800534"/>
                  <a:gd name="connsiteX99" fmla="*/ 1856327 w 5402008"/>
                  <a:gd name="connsiteY99" fmla="*/ 19717 h 5800534"/>
                  <a:gd name="connsiteX100" fmla="*/ 554927 w 5402008"/>
                  <a:gd name="connsiteY100" fmla="*/ 5759482 h 5800534"/>
                  <a:gd name="connsiteX101" fmla="*/ 389096 w 5402008"/>
                  <a:gd name="connsiteY101" fmla="*/ 5720715 h 5800534"/>
                  <a:gd name="connsiteX102" fmla="*/ 363379 w 5402008"/>
                  <a:gd name="connsiteY102" fmla="*/ 5731669 h 5800534"/>
                  <a:gd name="connsiteX103" fmla="*/ 374333 w 5402008"/>
                  <a:gd name="connsiteY103" fmla="*/ 5757386 h 5800534"/>
                  <a:gd name="connsiteX104" fmla="*/ 551974 w 5402008"/>
                  <a:gd name="connsiteY104" fmla="*/ 5798915 h 5800534"/>
                  <a:gd name="connsiteX105" fmla="*/ 553498 w 5402008"/>
                  <a:gd name="connsiteY105" fmla="*/ 5799011 h 5800534"/>
                  <a:gd name="connsiteX106" fmla="*/ 573215 w 5402008"/>
                  <a:gd name="connsiteY106" fmla="*/ 5780723 h 5800534"/>
                  <a:gd name="connsiteX107" fmla="*/ 554927 w 5402008"/>
                  <a:gd name="connsiteY107" fmla="*/ 5759482 h 5800534"/>
                  <a:gd name="connsiteX108" fmla="*/ 19717 w 5402008"/>
                  <a:gd name="connsiteY108" fmla="*/ 2189893 h 5800534"/>
                  <a:gd name="connsiteX109" fmla="*/ 39434 w 5402008"/>
                  <a:gd name="connsiteY109" fmla="*/ 2170176 h 5800534"/>
                  <a:gd name="connsiteX110" fmla="*/ 39434 w 5402008"/>
                  <a:gd name="connsiteY110" fmla="*/ 1993011 h 5800534"/>
                  <a:gd name="connsiteX111" fmla="*/ 19717 w 5402008"/>
                  <a:gd name="connsiteY111" fmla="*/ 1973294 h 5800534"/>
                  <a:gd name="connsiteX112" fmla="*/ 0 w 5402008"/>
                  <a:gd name="connsiteY112" fmla="*/ 1993011 h 5800534"/>
                  <a:gd name="connsiteX113" fmla="*/ 0 w 5402008"/>
                  <a:gd name="connsiteY113" fmla="*/ 2170176 h 5800534"/>
                  <a:gd name="connsiteX114" fmla="*/ 19717 w 5402008"/>
                  <a:gd name="connsiteY114" fmla="*/ 2189893 h 5800534"/>
                  <a:gd name="connsiteX115" fmla="*/ 19717 w 5402008"/>
                  <a:gd name="connsiteY115" fmla="*/ 2544127 h 5800534"/>
                  <a:gd name="connsiteX116" fmla="*/ 39434 w 5402008"/>
                  <a:gd name="connsiteY116" fmla="*/ 2524411 h 5800534"/>
                  <a:gd name="connsiteX117" fmla="*/ 39434 w 5402008"/>
                  <a:gd name="connsiteY117" fmla="*/ 2347341 h 5800534"/>
                  <a:gd name="connsiteX118" fmla="*/ 19717 w 5402008"/>
                  <a:gd name="connsiteY118" fmla="*/ 2327624 h 5800534"/>
                  <a:gd name="connsiteX119" fmla="*/ 0 w 5402008"/>
                  <a:gd name="connsiteY119" fmla="*/ 2347341 h 5800534"/>
                  <a:gd name="connsiteX120" fmla="*/ 0 w 5402008"/>
                  <a:gd name="connsiteY120" fmla="*/ 2524411 h 5800534"/>
                  <a:gd name="connsiteX121" fmla="*/ 19717 w 5402008"/>
                  <a:gd name="connsiteY121" fmla="*/ 2544127 h 5800534"/>
                  <a:gd name="connsiteX122" fmla="*/ 19717 w 5402008"/>
                  <a:gd name="connsiteY122" fmla="*/ 1835658 h 5800534"/>
                  <a:gd name="connsiteX123" fmla="*/ 39434 w 5402008"/>
                  <a:gd name="connsiteY123" fmla="*/ 1815941 h 5800534"/>
                  <a:gd name="connsiteX124" fmla="*/ 39434 w 5402008"/>
                  <a:gd name="connsiteY124" fmla="*/ 1638776 h 5800534"/>
                  <a:gd name="connsiteX125" fmla="*/ 19717 w 5402008"/>
                  <a:gd name="connsiteY125" fmla="*/ 1619060 h 5800534"/>
                  <a:gd name="connsiteX126" fmla="*/ 0 w 5402008"/>
                  <a:gd name="connsiteY126" fmla="*/ 1638776 h 5800534"/>
                  <a:gd name="connsiteX127" fmla="*/ 0 w 5402008"/>
                  <a:gd name="connsiteY127" fmla="*/ 1815941 h 5800534"/>
                  <a:gd name="connsiteX128" fmla="*/ 19717 w 5402008"/>
                  <a:gd name="connsiteY128" fmla="*/ 1835658 h 5800534"/>
                  <a:gd name="connsiteX129" fmla="*/ 19717 w 5402008"/>
                  <a:gd name="connsiteY129" fmla="*/ 772954 h 5800534"/>
                  <a:gd name="connsiteX130" fmla="*/ 39434 w 5402008"/>
                  <a:gd name="connsiteY130" fmla="*/ 753237 h 5800534"/>
                  <a:gd name="connsiteX131" fmla="*/ 39434 w 5402008"/>
                  <a:gd name="connsiteY131" fmla="*/ 597789 h 5800534"/>
                  <a:gd name="connsiteX132" fmla="*/ 39815 w 5402008"/>
                  <a:gd name="connsiteY132" fmla="*/ 576739 h 5800534"/>
                  <a:gd name="connsiteX133" fmla="*/ 20765 w 5402008"/>
                  <a:gd name="connsiteY133" fmla="*/ 556260 h 5800534"/>
                  <a:gd name="connsiteX134" fmla="*/ 286 w 5402008"/>
                  <a:gd name="connsiteY134" fmla="*/ 575310 h 5800534"/>
                  <a:gd name="connsiteX135" fmla="*/ 0 w 5402008"/>
                  <a:gd name="connsiteY135" fmla="*/ 597789 h 5800534"/>
                  <a:gd name="connsiteX136" fmla="*/ 0 w 5402008"/>
                  <a:gd name="connsiteY136" fmla="*/ 753142 h 5800534"/>
                  <a:gd name="connsiteX137" fmla="*/ 19717 w 5402008"/>
                  <a:gd name="connsiteY137" fmla="*/ 772954 h 5800534"/>
                  <a:gd name="connsiteX138" fmla="*/ 19717 w 5402008"/>
                  <a:gd name="connsiteY138" fmla="*/ 1481423 h 5800534"/>
                  <a:gd name="connsiteX139" fmla="*/ 39434 w 5402008"/>
                  <a:gd name="connsiteY139" fmla="*/ 1461707 h 5800534"/>
                  <a:gd name="connsiteX140" fmla="*/ 39434 w 5402008"/>
                  <a:gd name="connsiteY140" fmla="*/ 1284637 h 5800534"/>
                  <a:gd name="connsiteX141" fmla="*/ 19717 w 5402008"/>
                  <a:gd name="connsiteY141" fmla="*/ 1264920 h 5800534"/>
                  <a:gd name="connsiteX142" fmla="*/ 0 w 5402008"/>
                  <a:gd name="connsiteY142" fmla="*/ 1284637 h 5800534"/>
                  <a:gd name="connsiteX143" fmla="*/ 0 w 5402008"/>
                  <a:gd name="connsiteY143" fmla="*/ 1461707 h 5800534"/>
                  <a:gd name="connsiteX144" fmla="*/ 19717 w 5402008"/>
                  <a:gd name="connsiteY144" fmla="*/ 1481423 h 5800534"/>
                  <a:gd name="connsiteX145" fmla="*/ 19717 w 5402008"/>
                  <a:gd name="connsiteY145" fmla="*/ 2898362 h 5800534"/>
                  <a:gd name="connsiteX146" fmla="*/ 39434 w 5402008"/>
                  <a:gd name="connsiteY146" fmla="*/ 2878646 h 5800534"/>
                  <a:gd name="connsiteX147" fmla="*/ 39434 w 5402008"/>
                  <a:gd name="connsiteY147" fmla="*/ 2701481 h 5800534"/>
                  <a:gd name="connsiteX148" fmla="*/ 19717 w 5402008"/>
                  <a:gd name="connsiteY148" fmla="*/ 2681764 h 5800534"/>
                  <a:gd name="connsiteX149" fmla="*/ 0 w 5402008"/>
                  <a:gd name="connsiteY149" fmla="*/ 2701481 h 5800534"/>
                  <a:gd name="connsiteX150" fmla="*/ 0 w 5402008"/>
                  <a:gd name="connsiteY150" fmla="*/ 2878646 h 5800534"/>
                  <a:gd name="connsiteX151" fmla="*/ 19717 w 5402008"/>
                  <a:gd name="connsiteY151" fmla="*/ 2898362 h 5800534"/>
                  <a:gd name="connsiteX152" fmla="*/ 19717 w 5402008"/>
                  <a:gd name="connsiteY152" fmla="*/ 1127189 h 5800534"/>
                  <a:gd name="connsiteX153" fmla="*/ 39434 w 5402008"/>
                  <a:gd name="connsiteY153" fmla="*/ 1107472 h 5800534"/>
                  <a:gd name="connsiteX154" fmla="*/ 39434 w 5402008"/>
                  <a:gd name="connsiteY154" fmla="*/ 930307 h 5800534"/>
                  <a:gd name="connsiteX155" fmla="*/ 19717 w 5402008"/>
                  <a:gd name="connsiteY155" fmla="*/ 910590 h 5800534"/>
                  <a:gd name="connsiteX156" fmla="*/ 0 w 5402008"/>
                  <a:gd name="connsiteY156" fmla="*/ 930307 h 5800534"/>
                  <a:gd name="connsiteX157" fmla="*/ 0 w 5402008"/>
                  <a:gd name="connsiteY157" fmla="*/ 1107472 h 5800534"/>
                  <a:gd name="connsiteX158" fmla="*/ 19717 w 5402008"/>
                  <a:gd name="connsiteY158" fmla="*/ 1127189 h 5800534"/>
                  <a:gd name="connsiteX159" fmla="*/ 19717 w 5402008"/>
                  <a:gd name="connsiteY159" fmla="*/ 3961067 h 5800534"/>
                  <a:gd name="connsiteX160" fmla="*/ 39434 w 5402008"/>
                  <a:gd name="connsiteY160" fmla="*/ 3941350 h 5800534"/>
                  <a:gd name="connsiteX161" fmla="*/ 39434 w 5402008"/>
                  <a:gd name="connsiteY161" fmla="*/ 3764185 h 5800534"/>
                  <a:gd name="connsiteX162" fmla="*/ 19717 w 5402008"/>
                  <a:gd name="connsiteY162" fmla="*/ 3744468 h 5800534"/>
                  <a:gd name="connsiteX163" fmla="*/ 0 w 5402008"/>
                  <a:gd name="connsiteY163" fmla="*/ 3764185 h 5800534"/>
                  <a:gd name="connsiteX164" fmla="*/ 0 w 5402008"/>
                  <a:gd name="connsiteY164" fmla="*/ 3941350 h 5800534"/>
                  <a:gd name="connsiteX165" fmla="*/ 19717 w 5402008"/>
                  <a:gd name="connsiteY165" fmla="*/ 3961067 h 5800534"/>
                  <a:gd name="connsiteX166" fmla="*/ 19717 w 5402008"/>
                  <a:gd name="connsiteY166" fmla="*/ 5023771 h 5800534"/>
                  <a:gd name="connsiteX167" fmla="*/ 39434 w 5402008"/>
                  <a:gd name="connsiteY167" fmla="*/ 5004055 h 5800534"/>
                  <a:gd name="connsiteX168" fmla="*/ 39434 w 5402008"/>
                  <a:gd name="connsiteY168" fmla="*/ 4826889 h 5800534"/>
                  <a:gd name="connsiteX169" fmla="*/ 19717 w 5402008"/>
                  <a:gd name="connsiteY169" fmla="*/ 4807173 h 5800534"/>
                  <a:gd name="connsiteX170" fmla="*/ 0 w 5402008"/>
                  <a:gd name="connsiteY170" fmla="*/ 4826889 h 5800534"/>
                  <a:gd name="connsiteX171" fmla="*/ 0 w 5402008"/>
                  <a:gd name="connsiteY171" fmla="*/ 5004055 h 5800534"/>
                  <a:gd name="connsiteX172" fmla="*/ 19717 w 5402008"/>
                  <a:gd name="connsiteY172" fmla="*/ 5023771 h 5800534"/>
                  <a:gd name="connsiteX173" fmla="*/ 19717 w 5402008"/>
                  <a:gd name="connsiteY173" fmla="*/ 4669536 h 5800534"/>
                  <a:gd name="connsiteX174" fmla="*/ 39434 w 5402008"/>
                  <a:gd name="connsiteY174" fmla="*/ 4649819 h 5800534"/>
                  <a:gd name="connsiteX175" fmla="*/ 39434 w 5402008"/>
                  <a:gd name="connsiteY175" fmla="*/ 4472654 h 5800534"/>
                  <a:gd name="connsiteX176" fmla="*/ 19717 w 5402008"/>
                  <a:gd name="connsiteY176" fmla="*/ 4452938 h 5800534"/>
                  <a:gd name="connsiteX177" fmla="*/ 0 w 5402008"/>
                  <a:gd name="connsiteY177" fmla="*/ 4472654 h 5800534"/>
                  <a:gd name="connsiteX178" fmla="*/ 0 w 5402008"/>
                  <a:gd name="connsiteY178" fmla="*/ 4649819 h 5800534"/>
                  <a:gd name="connsiteX179" fmla="*/ 19717 w 5402008"/>
                  <a:gd name="connsiteY179" fmla="*/ 4669536 h 5800534"/>
                  <a:gd name="connsiteX180" fmla="*/ 39529 w 5402008"/>
                  <a:gd name="connsiteY180" fmla="*/ 5202746 h 5800534"/>
                  <a:gd name="connsiteX181" fmla="*/ 39529 w 5402008"/>
                  <a:gd name="connsiteY181" fmla="*/ 5181124 h 5800534"/>
                  <a:gd name="connsiteX182" fmla="*/ 19812 w 5402008"/>
                  <a:gd name="connsiteY182" fmla="*/ 5161407 h 5800534"/>
                  <a:gd name="connsiteX183" fmla="*/ 95 w 5402008"/>
                  <a:gd name="connsiteY183" fmla="*/ 5181124 h 5800534"/>
                  <a:gd name="connsiteX184" fmla="*/ 95 w 5402008"/>
                  <a:gd name="connsiteY184" fmla="*/ 5202746 h 5800534"/>
                  <a:gd name="connsiteX185" fmla="*/ 21431 w 5402008"/>
                  <a:gd name="connsiteY185" fmla="*/ 5361527 h 5800534"/>
                  <a:gd name="connsiteX186" fmla="*/ 40481 w 5402008"/>
                  <a:gd name="connsiteY186" fmla="*/ 5376101 h 5800534"/>
                  <a:gd name="connsiteX187" fmla="*/ 45720 w 5402008"/>
                  <a:gd name="connsiteY187" fmla="*/ 5375339 h 5800534"/>
                  <a:gd name="connsiteX188" fmla="*/ 59531 w 5402008"/>
                  <a:gd name="connsiteY188" fmla="*/ 5351050 h 5800534"/>
                  <a:gd name="connsiteX189" fmla="*/ 39529 w 5402008"/>
                  <a:gd name="connsiteY189" fmla="*/ 5202746 h 5800534"/>
                  <a:gd name="connsiteX190" fmla="*/ 149638 w 5402008"/>
                  <a:gd name="connsiteY190" fmla="*/ 232124 h 5800534"/>
                  <a:gd name="connsiteX191" fmla="*/ 121920 w 5402008"/>
                  <a:gd name="connsiteY191" fmla="*/ 235934 h 5800534"/>
                  <a:gd name="connsiteX192" fmla="*/ 34862 w 5402008"/>
                  <a:gd name="connsiteY192" fmla="*/ 396240 h 5800534"/>
                  <a:gd name="connsiteX193" fmla="*/ 46768 w 5402008"/>
                  <a:gd name="connsiteY193" fmla="*/ 421481 h 5800534"/>
                  <a:gd name="connsiteX194" fmla="*/ 53435 w 5402008"/>
                  <a:gd name="connsiteY194" fmla="*/ 422624 h 5800534"/>
                  <a:gd name="connsiteX195" fmla="*/ 72009 w 5402008"/>
                  <a:gd name="connsiteY195" fmla="*/ 409480 h 5800534"/>
                  <a:gd name="connsiteX196" fmla="*/ 153353 w 5402008"/>
                  <a:gd name="connsiteY196" fmla="*/ 259842 h 5800534"/>
                  <a:gd name="connsiteX197" fmla="*/ 149638 w 5402008"/>
                  <a:gd name="connsiteY197" fmla="*/ 232124 h 5800534"/>
                  <a:gd name="connsiteX198" fmla="*/ 19717 w 5402008"/>
                  <a:gd name="connsiteY198" fmla="*/ 4315301 h 5800534"/>
                  <a:gd name="connsiteX199" fmla="*/ 39434 w 5402008"/>
                  <a:gd name="connsiteY199" fmla="*/ 4295585 h 5800534"/>
                  <a:gd name="connsiteX200" fmla="*/ 39434 w 5402008"/>
                  <a:gd name="connsiteY200" fmla="*/ 4118515 h 5800534"/>
                  <a:gd name="connsiteX201" fmla="*/ 19717 w 5402008"/>
                  <a:gd name="connsiteY201" fmla="*/ 4098798 h 5800534"/>
                  <a:gd name="connsiteX202" fmla="*/ 0 w 5402008"/>
                  <a:gd name="connsiteY202" fmla="*/ 4118515 h 5800534"/>
                  <a:gd name="connsiteX203" fmla="*/ 0 w 5402008"/>
                  <a:gd name="connsiteY203" fmla="*/ 4295585 h 5800534"/>
                  <a:gd name="connsiteX204" fmla="*/ 19717 w 5402008"/>
                  <a:gd name="connsiteY204" fmla="*/ 4315301 h 5800534"/>
                  <a:gd name="connsiteX205" fmla="*/ 19717 w 5402008"/>
                  <a:gd name="connsiteY205" fmla="*/ 3606832 h 5800534"/>
                  <a:gd name="connsiteX206" fmla="*/ 39434 w 5402008"/>
                  <a:gd name="connsiteY206" fmla="*/ 3587020 h 5800534"/>
                  <a:gd name="connsiteX207" fmla="*/ 39434 w 5402008"/>
                  <a:gd name="connsiteY207" fmla="*/ 3409855 h 5800534"/>
                  <a:gd name="connsiteX208" fmla="*/ 19717 w 5402008"/>
                  <a:gd name="connsiteY208" fmla="*/ 3390138 h 5800534"/>
                  <a:gd name="connsiteX209" fmla="*/ 0 w 5402008"/>
                  <a:gd name="connsiteY209" fmla="*/ 3409855 h 5800534"/>
                  <a:gd name="connsiteX210" fmla="*/ 0 w 5402008"/>
                  <a:gd name="connsiteY210" fmla="*/ 3587020 h 5800534"/>
                  <a:gd name="connsiteX211" fmla="*/ 19717 w 5402008"/>
                  <a:gd name="connsiteY211" fmla="*/ 3606832 h 5800534"/>
                  <a:gd name="connsiteX212" fmla="*/ 19717 w 5402008"/>
                  <a:gd name="connsiteY212" fmla="*/ 3252597 h 5800534"/>
                  <a:gd name="connsiteX213" fmla="*/ 39434 w 5402008"/>
                  <a:gd name="connsiteY213" fmla="*/ 3232881 h 5800534"/>
                  <a:gd name="connsiteX214" fmla="*/ 39434 w 5402008"/>
                  <a:gd name="connsiteY214" fmla="*/ 3055715 h 5800534"/>
                  <a:gd name="connsiteX215" fmla="*/ 19717 w 5402008"/>
                  <a:gd name="connsiteY215" fmla="*/ 3035999 h 5800534"/>
                  <a:gd name="connsiteX216" fmla="*/ 0 w 5402008"/>
                  <a:gd name="connsiteY216" fmla="*/ 3055715 h 5800534"/>
                  <a:gd name="connsiteX217" fmla="*/ 0 w 5402008"/>
                  <a:gd name="connsiteY217" fmla="*/ 3232881 h 5800534"/>
                  <a:gd name="connsiteX218" fmla="*/ 19717 w 5402008"/>
                  <a:gd name="connsiteY218" fmla="*/ 3252597 h 5800534"/>
                  <a:gd name="connsiteX219" fmla="*/ 5382292 w 5402008"/>
                  <a:gd name="connsiteY219" fmla="*/ 3609594 h 5800534"/>
                  <a:gd name="connsiteX220" fmla="*/ 5362575 w 5402008"/>
                  <a:gd name="connsiteY220" fmla="*/ 3629311 h 5800534"/>
                  <a:gd name="connsiteX221" fmla="*/ 5362575 w 5402008"/>
                  <a:gd name="connsiteY221" fmla="*/ 3806381 h 5800534"/>
                  <a:gd name="connsiteX222" fmla="*/ 5382292 w 5402008"/>
                  <a:gd name="connsiteY222" fmla="*/ 3826098 h 5800534"/>
                  <a:gd name="connsiteX223" fmla="*/ 5402009 w 5402008"/>
                  <a:gd name="connsiteY223" fmla="*/ 3806381 h 5800534"/>
                  <a:gd name="connsiteX224" fmla="*/ 5402009 w 5402008"/>
                  <a:gd name="connsiteY224" fmla="*/ 3629311 h 5800534"/>
                  <a:gd name="connsiteX225" fmla="*/ 5382292 w 5402008"/>
                  <a:gd name="connsiteY225" fmla="*/ 3609594 h 5800534"/>
                  <a:gd name="connsiteX226" fmla="*/ 2919032 w 5402008"/>
                  <a:gd name="connsiteY226" fmla="*/ 19717 h 5800534"/>
                  <a:gd name="connsiteX227" fmla="*/ 2899315 w 5402008"/>
                  <a:gd name="connsiteY227" fmla="*/ 0 h 5800534"/>
                  <a:gd name="connsiteX228" fmla="*/ 2722245 w 5402008"/>
                  <a:gd name="connsiteY228" fmla="*/ 0 h 5800534"/>
                  <a:gd name="connsiteX229" fmla="*/ 2702528 w 5402008"/>
                  <a:gd name="connsiteY229" fmla="*/ 19717 h 5800534"/>
                  <a:gd name="connsiteX230" fmla="*/ 2722245 w 5402008"/>
                  <a:gd name="connsiteY230" fmla="*/ 39434 h 5800534"/>
                  <a:gd name="connsiteX231" fmla="*/ 2899315 w 5402008"/>
                  <a:gd name="connsiteY231" fmla="*/ 39434 h 5800534"/>
                  <a:gd name="connsiteX232" fmla="*/ 2919032 w 5402008"/>
                  <a:gd name="connsiteY232" fmla="*/ 19717 h 5800534"/>
                  <a:gd name="connsiteX233" fmla="*/ 5382292 w 5402008"/>
                  <a:gd name="connsiteY233" fmla="*/ 3963829 h 5800534"/>
                  <a:gd name="connsiteX234" fmla="*/ 5362575 w 5402008"/>
                  <a:gd name="connsiteY234" fmla="*/ 3983546 h 5800534"/>
                  <a:gd name="connsiteX235" fmla="*/ 5362575 w 5402008"/>
                  <a:gd name="connsiteY235" fmla="*/ 4160711 h 5800534"/>
                  <a:gd name="connsiteX236" fmla="*/ 5382292 w 5402008"/>
                  <a:gd name="connsiteY236" fmla="*/ 4180427 h 5800534"/>
                  <a:gd name="connsiteX237" fmla="*/ 5402009 w 5402008"/>
                  <a:gd name="connsiteY237" fmla="*/ 4160711 h 5800534"/>
                  <a:gd name="connsiteX238" fmla="*/ 5402009 w 5402008"/>
                  <a:gd name="connsiteY238" fmla="*/ 3983546 h 5800534"/>
                  <a:gd name="connsiteX239" fmla="*/ 5382292 w 5402008"/>
                  <a:gd name="connsiteY239" fmla="*/ 3963829 h 5800534"/>
                  <a:gd name="connsiteX240" fmla="*/ 5382292 w 5402008"/>
                  <a:gd name="connsiteY240" fmla="*/ 4318064 h 5800534"/>
                  <a:gd name="connsiteX241" fmla="*/ 5362575 w 5402008"/>
                  <a:gd name="connsiteY241" fmla="*/ 4337781 h 5800534"/>
                  <a:gd name="connsiteX242" fmla="*/ 5362575 w 5402008"/>
                  <a:gd name="connsiteY242" fmla="*/ 4514945 h 5800534"/>
                  <a:gd name="connsiteX243" fmla="*/ 5382292 w 5402008"/>
                  <a:gd name="connsiteY243" fmla="*/ 4534662 h 5800534"/>
                  <a:gd name="connsiteX244" fmla="*/ 5402009 w 5402008"/>
                  <a:gd name="connsiteY244" fmla="*/ 4514945 h 5800534"/>
                  <a:gd name="connsiteX245" fmla="*/ 5402009 w 5402008"/>
                  <a:gd name="connsiteY245" fmla="*/ 4337781 h 5800534"/>
                  <a:gd name="connsiteX246" fmla="*/ 5382292 w 5402008"/>
                  <a:gd name="connsiteY246" fmla="*/ 4318064 h 5800534"/>
                  <a:gd name="connsiteX247" fmla="*/ 5382292 w 5402008"/>
                  <a:gd name="connsiteY247" fmla="*/ 5026533 h 5800534"/>
                  <a:gd name="connsiteX248" fmla="*/ 5362575 w 5402008"/>
                  <a:gd name="connsiteY248" fmla="*/ 5046250 h 5800534"/>
                  <a:gd name="connsiteX249" fmla="*/ 5362575 w 5402008"/>
                  <a:gd name="connsiteY249" fmla="*/ 5202746 h 5800534"/>
                  <a:gd name="connsiteX250" fmla="*/ 5362194 w 5402008"/>
                  <a:gd name="connsiteY250" fmla="*/ 5222748 h 5800534"/>
                  <a:gd name="connsiteX251" fmla="*/ 5381244 w 5402008"/>
                  <a:gd name="connsiteY251" fmla="*/ 5243227 h 5800534"/>
                  <a:gd name="connsiteX252" fmla="*/ 5381911 w 5402008"/>
                  <a:gd name="connsiteY252" fmla="*/ 5243227 h 5800534"/>
                  <a:gd name="connsiteX253" fmla="*/ 5401628 w 5402008"/>
                  <a:gd name="connsiteY253" fmla="*/ 5224177 h 5800534"/>
                  <a:gd name="connsiteX254" fmla="*/ 5402009 w 5402008"/>
                  <a:gd name="connsiteY254" fmla="*/ 5202841 h 5800534"/>
                  <a:gd name="connsiteX255" fmla="*/ 5402009 w 5402008"/>
                  <a:gd name="connsiteY255" fmla="*/ 5046346 h 5800534"/>
                  <a:gd name="connsiteX256" fmla="*/ 5382292 w 5402008"/>
                  <a:gd name="connsiteY256" fmla="*/ 5026533 h 5800534"/>
                  <a:gd name="connsiteX257" fmla="*/ 5382292 w 5402008"/>
                  <a:gd name="connsiteY257" fmla="*/ 4672299 h 5800534"/>
                  <a:gd name="connsiteX258" fmla="*/ 5362575 w 5402008"/>
                  <a:gd name="connsiteY258" fmla="*/ 4692015 h 5800534"/>
                  <a:gd name="connsiteX259" fmla="*/ 5362575 w 5402008"/>
                  <a:gd name="connsiteY259" fmla="*/ 4869085 h 5800534"/>
                  <a:gd name="connsiteX260" fmla="*/ 5382292 w 5402008"/>
                  <a:gd name="connsiteY260" fmla="*/ 4888802 h 5800534"/>
                  <a:gd name="connsiteX261" fmla="*/ 5402009 w 5402008"/>
                  <a:gd name="connsiteY261" fmla="*/ 4869085 h 5800534"/>
                  <a:gd name="connsiteX262" fmla="*/ 5402009 w 5402008"/>
                  <a:gd name="connsiteY262" fmla="*/ 4692015 h 5800534"/>
                  <a:gd name="connsiteX263" fmla="*/ 5382292 w 5402008"/>
                  <a:gd name="connsiteY263" fmla="*/ 4672299 h 5800534"/>
                  <a:gd name="connsiteX264" fmla="*/ 5382292 w 5402008"/>
                  <a:gd name="connsiteY264" fmla="*/ 2901125 h 5800534"/>
                  <a:gd name="connsiteX265" fmla="*/ 5362575 w 5402008"/>
                  <a:gd name="connsiteY265" fmla="*/ 2920841 h 5800534"/>
                  <a:gd name="connsiteX266" fmla="*/ 5362575 w 5402008"/>
                  <a:gd name="connsiteY266" fmla="*/ 3097911 h 5800534"/>
                  <a:gd name="connsiteX267" fmla="*/ 5382292 w 5402008"/>
                  <a:gd name="connsiteY267" fmla="*/ 3117628 h 5800534"/>
                  <a:gd name="connsiteX268" fmla="*/ 5402009 w 5402008"/>
                  <a:gd name="connsiteY268" fmla="*/ 3097911 h 5800534"/>
                  <a:gd name="connsiteX269" fmla="*/ 5402009 w 5402008"/>
                  <a:gd name="connsiteY269" fmla="*/ 2920841 h 5800534"/>
                  <a:gd name="connsiteX270" fmla="*/ 5382292 w 5402008"/>
                  <a:gd name="connsiteY270" fmla="*/ 2901125 h 5800534"/>
                  <a:gd name="connsiteX271" fmla="*/ 5382292 w 5402008"/>
                  <a:gd name="connsiteY271" fmla="*/ 2546890 h 5800534"/>
                  <a:gd name="connsiteX272" fmla="*/ 5362575 w 5402008"/>
                  <a:gd name="connsiteY272" fmla="*/ 2566607 h 5800534"/>
                  <a:gd name="connsiteX273" fmla="*/ 5362575 w 5402008"/>
                  <a:gd name="connsiteY273" fmla="*/ 2743772 h 5800534"/>
                  <a:gd name="connsiteX274" fmla="*/ 5382292 w 5402008"/>
                  <a:gd name="connsiteY274" fmla="*/ 2763488 h 5800534"/>
                  <a:gd name="connsiteX275" fmla="*/ 5402009 w 5402008"/>
                  <a:gd name="connsiteY275" fmla="*/ 2743772 h 5800534"/>
                  <a:gd name="connsiteX276" fmla="*/ 5402009 w 5402008"/>
                  <a:gd name="connsiteY276" fmla="*/ 2566607 h 5800534"/>
                  <a:gd name="connsiteX277" fmla="*/ 5382292 w 5402008"/>
                  <a:gd name="connsiteY277" fmla="*/ 2546890 h 5800534"/>
                  <a:gd name="connsiteX278" fmla="*/ 5382292 w 5402008"/>
                  <a:gd name="connsiteY278" fmla="*/ 1129951 h 5800534"/>
                  <a:gd name="connsiteX279" fmla="*/ 5362575 w 5402008"/>
                  <a:gd name="connsiteY279" fmla="*/ 1149668 h 5800534"/>
                  <a:gd name="connsiteX280" fmla="*/ 5362575 w 5402008"/>
                  <a:gd name="connsiteY280" fmla="*/ 1326833 h 5800534"/>
                  <a:gd name="connsiteX281" fmla="*/ 5382292 w 5402008"/>
                  <a:gd name="connsiteY281" fmla="*/ 1346549 h 5800534"/>
                  <a:gd name="connsiteX282" fmla="*/ 5402009 w 5402008"/>
                  <a:gd name="connsiteY282" fmla="*/ 1326833 h 5800534"/>
                  <a:gd name="connsiteX283" fmla="*/ 5402009 w 5402008"/>
                  <a:gd name="connsiteY283" fmla="*/ 1149668 h 5800534"/>
                  <a:gd name="connsiteX284" fmla="*/ 5382292 w 5402008"/>
                  <a:gd name="connsiteY284" fmla="*/ 1129951 h 5800534"/>
                  <a:gd name="connsiteX285" fmla="*/ 5382292 w 5402008"/>
                  <a:gd name="connsiteY285" fmla="*/ 775716 h 5800534"/>
                  <a:gd name="connsiteX286" fmla="*/ 5362575 w 5402008"/>
                  <a:gd name="connsiteY286" fmla="*/ 795433 h 5800534"/>
                  <a:gd name="connsiteX287" fmla="*/ 5362575 w 5402008"/>
                  <a:gd name="connsiteY287" fmla="*/ 972503 h 5800534"/>
                  <a:gd name="connsiteX288" fmla="*/ 5382292 w 5402008"/>
                  <a:gd name="connsiteY288" fmla="*/ 992219 h 5800534"/>
                  <a:gd name="connsiteX289" fmla="*/ 5402009 w 5402008"/>
                  <a:gd name="connsiteY289" fmla="*/ 972503 h 5800534"/>
                  <a:gd name="connsiteX290" fmla="*/ 5402009 w 5402008"/>
                  <a:gd name="connsiteY290" fmla="*/ 795528 h 5800534"/>
                  <a:gd name="connsiteX291" fmla="*/ 5382292 w 5402008"/>
                  <a:gd name="connsiteY291" fmla="*/ 775716 h 5800534"/>
                  <a:gd name="connsiteX292" fmla="*/ 5380387 w 5402008"/>
                  <a:gd name="connsiteY292" fmla="*/ 437960 h 5800534"/>
                  <a:gd name="connsiteX293" fmla="*/ 5356098 w 5402008"/>
                  <a:gd name="connsiteY293" fmla="*/ 424148 h 5800534"/>
                  <a:gd name="connsiteX294" fmla="*/ 5342287 w 5402008"/>
                  <a:gd name="connsiteY294" fmla="*/ 448437 h 5800534"/>
                  <a:gd name="connsiteX295" fmla="*/ 5362480 w 5402008"/>
                  <a:gd name="connsiteY295" fmla="*/ 597789 h 5800534"/>
                  <a:gd name="connsiteX296" fmla="*/ 5362480 w 5402008"/>
                  <a:gd name="connsiteY296" fmla="*/ 618363 h 5800534"/>
                  <a:gd name="connsiteX297" fmla="*/ 5382197 w 5402008"/>
                  <a:gd name="connsiteY297" fmla="*/ 638080 h 5800534"/>
                  <a:gd name="connsiteX298" fmla="*/ 5401914 w 5402008"/>
                  <a:gd name="connsiteY298" fmla="*/ 618363 h 5800534"/>
                  <a:gd name="connsiteX299" fmla="*/ 5401914 w 5402008"/>
                  <a:gd name="connsiteY299" fmla="*/ 597789 h 5800534"/>
                  <a:gd name="connsiteX300" fmla="*/ 5380387 w 5402008"/>
                  <a:gd name="connsiteY300" fmla="*/ 437960 h 5800534"/>
                  <a:gd name="connsiteX301" fmla="*/ 5382292 w 5402008"/>
                  <a:gd name="connsiteY301" fmla="*/ 2192655 h 5800534"/>
                  <a:gd name="connsiteX302" fmla="*/ 5362575 w 5402008"/>
                  <a:gd name="connsiteY302" fmla="*/ 2212372 h 5800534"/>
                  <a:gd name="connsiteX303" fmla="*/ 5362575 w 5402008"/>
                  <a:gd name="connsiteY303" fmla="*/ 2389537 h 5800534"/>
                  <a:gd name="connsiteX304" fmla="*/ 5382292 w 5402008"/>
                  <a:gd name="connsiteY304" fmla="*/ 2409254 h 5800534"/>
                  <a:gd name="connsiteX305" fmla="*/ 5402009 w 5402008"/>
                  <a:gd name="connsiteY305" fmla="*/ 2389537 h 5800534"/>
                  <a:gd name="connsiteX306" fmla="*/ 5402009 w 5402008"/>
                  <a:gd name="connsiteY306" fmla="*/ 2212372 h 5800534"/>
                  <a:gd name="connsiteX307" fmla="*/ 5382292 w 5402008"/>
                  <a:gd name="connsiteY307" fmla="*/ 2192655 h 5800534"/>
                  <a:gd name="connsiteX308" fmla="*/ 5355622 w 5402008"/>
                  <a:gd name="connsiteY308" fmla="*/ 5378101 h 5800534"/>
                  <a:gd name="connsiteX309" fmla="*/ 5330381 w 5402008"/>
                  <a:gd name="connsiteY309" fmla="*/ 5390102 h 5800534"/>
                  <a:gd name="connsiteX310" fmla="*/ 5249323 w 5402008"/>
                  <a:gd name="connsiteY310" fmla="*/ 5539931 h 5800534"/>
                  <a:gd name="connsiteX311" fmla="*/ 5253133 w 5402008"/>
                  <a:gd name="connsiteY311" fmla="*/ 5567649 h 5800534"/>
                  <a:gd name="connsiteX312" fmla="*/ 5265039 w 5402008"/>
                  <a:gd name="connsiteY312" fmla="*/ 5571649 h 5800534"/>
                  <a:gd name="connsiteX313" fmla="*/ 5280755 w 5402008"/>
                  <a:gd name="connsiteY313" fmla="*/ 5563838 h 5800534"/>
                  <a:gd name="connsiteX314" fmla="*/ 5367528 w 5402008"/>
                  <a:gd name="connsiteY314" fmla="*/ 5403342 h 5800534"/>
                  <a:gd name="connsiteX315" fmla="*/ 5355622 w 5402008"/>
                  <a:gd name="connsiteY315" fmla="*/ 5378101 h 5800534"/>
                  <a:gd name="connsiteX316" fmla="*/ 5382292 w 5402008"/>
                  <a:gd name="connsiteY316" fmla="*/ 1838420 h 5800534"/>
                  <a:gd name="connsiteX317" fmla="*/ 5362575 w 5402008"/>
                  <a:gd name="connsiteY317" fmla="*/ 1858137 h 5800534"/>
                  <a:gd name="connsiteX318" fmla="*/ 5362575 w 5402008"/>
                  <a:gd name="connsiteY318" fmla="*/ 2035207 h 5800534"/>
                  <a:gd name="connsiteX319" fmla="*/ 5382292 w 5402008"/>
                  <a:gd name="connsiteY319" fmla="*/ 2054924 h 5800534"/>
                  <a:gd name="connsiteX320" fmla="*/ 5402009 w 5402008"/>
                  <a:gd name="connsiteY320" fmla="*/ 2035207 h 5800534"/>
                  <a:gd name="connsiteX321" fmla="*/ 5402009 w 5402008"/>
                  <a:gd name="connsiteY321" fmla="*/ 1858137 h 5800534"/>
                  <a:gd name="connsiteX322" fmla="*/ 5382292 w 5402008"/>
                  <a:gd name="connsiteY322" fmla="*/ 1838420 h 5800534"/>
                  <a:gd name="connsiteX323" fmla="*/ 5382292 w 5402008"/>
                  <a:gd name="connsiteY323" fmla="*/ 1484186 h 5800534"/>
                  <a:gd name="connsiteX324" fmla="*/ 5362575 w 5402008"/>
                  <a:gd name="connsiteY324" fmla="*/ 1503902 h 5800534"/>
                  <a:gd name="connsiteX325" fmla="*/ 5362575 w 5402008"/>
                  <a:gd name="connsiteY325" fmla="*/ 1681067 h 5800534"/>
                  <a:gd name="connsiteX326" fmla="*/ 5382292 w 5402008"/>
                  <a:gd name="connsiteY326" fmla="*/ 1700784 h 5800534"/>
                  <a:gd name="connsiteX327" fmla="*/ 5402009 w 5402008"/>
                  <a:gd name="connsiteY327" fmla="*/ 1681067 h 5800534"/>
                  <a:gd name="connsiteX328" fmla="*/ 5402009 w 5402008"/>
                  <a:gd name="connsiteY328" fmla="*/ 1503902 h 5800534"/>
                  <a:gd name="connsiteX329" fmla="*/ 5382292 w 5402008"/>
                  <a:gd name="connsiteY329" fmla="*/ 1484186 h 5800534"/>
                  <a:gd name="connsiteX330" fmla="*/ 5382292 w 5402008"/>
                  <a:gd name="connsiteY330" fmla="*/ 3255359 h 5800534"/>
                  <a:gd name="connsiteX331" fmla="*/ 5362575 w 5402008"/>
                  <a:gd name="connsiteY331" fmla="*/ 3275076 h 5800534"/>
                  <a:gd name="connsiteX332" fmla="*/ 5362575 w 5402008"/>
                  <a:gd name="connsiteY332" fmla="*/ 3452241 h 5800534"/>
                  <a:gd name="connsiteX333" fmla="*/ 5382292 w 5402008"/>
                  <a:gd name="connsiteY333" fmla="*/ 3471958 h 5800534"/>
                  <a:gd name="connsiteX334" fmla="*/ 5402009 w 5402008"/>
                  <a:gd name="connsiteY334" fmla="*/ 3452241 h 5800534"/>
                  <a:gd name="connsiteX335" fmla="*/ 5402009 w 5402008"/>
                  <a:gd name="connsiteY335" fmla="*/ 3275076 h 5800534"/>
                  <a:gd name="connsiteX336" fmla="*/ 5382292 w 5402008"/>
                  <a:gd name="connsiteY336" fmla="*/ 3255359 h 5800534"/>
                  <a:gd name="connsiteX337" fmla="*/ 5288756 w 5402008"/>
                  <a:gd name="connsiteY337" fmla="*/ 302228 h 5800534"/>
                  <a:gd name="connsiteX338" fmla="*/ 5299520 w 5402008"/>
                  <a:gd name="connsiteY338" fmla="*/ 298990 h 5800534"/>
                  <a:gd name="connsiteX339" fmla="*/ 5305235 w 5402008"/>
                  <a:gd name="connsiteY339" fmla="*/ 271653 h 5800534"/>
                  <a:gd name="connsiteX340" fmla="*/ 5183505 w 5402008"/>
                  <a:gd name="connsiteY340" fmla="*/ 135827 h 5800534"/>
                  <a:gd name="connsiteX341" fmla="*/ 5155693 w 5402008"/>
                  <a:gd name="connsiteY341" fmla="*/ 138589 h 5800534"/>
                  <a:gd name="connsiteX342" fmla="*/ 5158455 w 5402008"/>
                  <a:gd name="connsiteY342" fmla="*/ 166402 h 5800534"/>
                  <a:gd name="connsiteX343" fmla="*/ 5272088 w 5402008"/>
                  <a:gd name="connsiteY343" fmla="*/ 293370 h 5800534"/>
                  <a:gd name="connsiteX344" fmla="*/ 5288756 w 5402008"/>
                  <a:gd name="connsiteY344" fmla="*/ 302228 h 5800534"/>
                  <a:gd name="connsiteX345" fmla="*/ 3627501 w 5402008"/>
                  <a:gd name="connsiteY345" fmla="*/ 19717 h 5800534"/>
                  <a:gd name="connsiteX346" fmla="*/ 3607784 w 5402008"/>
                  <a:gd name="connsiteY346" fmla="*/ 0 h 5800534"/>
                  <a:gd name="connsiteX347" fmla="*/ 3430715 w 5402008"/>
                  <a:gd name="connsiteY347" fmla="*/ 0 h 5800534"/>
                  <a:gd name="connsiteX348" fmla="*/ 3410998 w 5402008"/>
                  <a:gd name="connsiteY348" fmla="*/ 19717 h 5800534"/>
                  <a:gd name="connsiteX349" fmla="*/ 3430715 w 5402008"/>
                  <a:gd name="connsiteY349" fmla="*/ 39434 h 5800534"/>
                  <a:gd name="connsiteX350" fmla="*/ 3607784 w 5402008"/>
                  <a:gd name="connsiteY350" fmla="*/ 39434 h 5800534"/>
                  <a:gd name="connsiteX351" fmla="*/ 3627501 w 5402008"/>
                  <a:gd name="connsiteY351" fmla="*/ 19717 h 5800534"/>
                  <a:gd name="connsiteX352" fmla="*/ 3981736 w 5402008"/>
                  <a:gd name="connsiteY352" fmla="*/ 19717 h 5800534"/>
                  <a:gd name="connsiteX353" fmla="*/ 3962019 w 5402008"/>
                  <a:gd name="connsiteY353" fmla="*/ 0 h 5800534"/>
                  <a:gd name="connsiteX354" fmla="*/ 3784854 w 5402008"/>
                  <a:gd name="connsiteY354" fmla="*/ 0 h 5800534"/>
                  <a:gd name="connsiteX355" fmla="*/ 3765137 w 5402008"/>
                  <a:gd name="connsiteY355" fmla="*/ 19717 h 5800534"/>
                  <a:gd name="connsiteX356" fmla="*/ 3784854 w 5402008"/>
                  <a:gd name="connsiteY356" fmla="*/ 39434 h 5800534"/>
                  <a:gd name="connsiteX357" fmla="*/ 3962019 w 5402008"/>
                  <a:gd name="connsiteY357" fmla="*/ 39434 h 5800534"/>
                  <a:gd name="connsiteX358" fmla="*/ 3981736 w 5402008"/>
                  <a:gd name="connsiteY358" fmla="*/ 19717 h 5800534"/>
                  <a:gd name="connsiteX359" fmla="*/ 3741420 w 5402008"/>
                  <a:gd name="connsiteY359" fmla="*/ 5761101 h 5800534"/>
                  <a:gd name="connsiteX360" fmla="*/ 3564255 w 5402008"/>
                  <a:gd name="connsiteY360" fmla="*/ 5761101 h 5800534"/>
                  <a:gd name="connsiteX361" fmla="*/ 3544538 w 5402008"/>
                  <a:gd name="connsiteY361" fmla="*/ 5780818 h 5800534"/>
                  <a:gd name="connsiteX362" fmla="*/ 3564255 w 5402008"/>
                  <a:gd name="connsiteY362" fmla="*/ 5800535 h 5800534"/>
                  <a:gd name="connsiteX363" fmla="*/ 3741420 w 5402008"/>
                  <a:gd name="connsiteY363" fmla="*/ 5800535 h 5800534"/>
                  <a:gd name="connsiteX364" fmla="*/ 3761137 w 5402008"/>
                  <a:gd name="connsiteY364" fmla="*/ 5780818 h 5800534"/>
                  <a:gd name="connsiteX365" fmla="*/ 3741420 w 5402008"/>
                  <a:gd name="connsiteY365" fmla="*/ 5761101 h 5800534"/>
                  <a:gd name="connsiteX366" fmla="*/ 3032951 w 5402008"/>
                  <a:gd name="connsiteY366" fmla="*/ 5761101 h 5800534"/>
                  <a:gd name="connsiteX367" fmla="*/ 2855881 w 5402008"/>
                  <a:gd name="connsiteY367" fmla="*/ 5761101 h 5800534"/>
                  <a:gd name="connsiteX368" fmla="*/ 2836164 w 5402008"/>
                  <a:gd name="connsiteY368" fmla="*/ 5780818 h 5800534"/>
                  <a:gd name="connsiteX369" fmla="*/ 2855881 w 5402008"/>
                  <a:gd name="connsiteY369" fmla="*/ 5800535 h 5800534"/>
                  <a:gd name="connsiteX370" fmla="*/ 3032951 w 5402008"/>
                  <a:gd name="connsiteY370" fmla="*/ 5800535 h 5800534"/>
                  <a:gd name="connsiteX371" fmla="*/ 3052667 w 5402008"/>
                  <a:gd name="connsiteY371" fmla="*/ 5780818 h 5800534"/>
                  <a:gd name="connsiteX372" fmla="*/ 3032951 w 5402008"/>
                  <a:gd name="connsiteY372" fmla="*/ 5761101 h 5800534"/>
                  <a:gd name="connsiteX373" fmla="*/ 3387185 w 5402008"/>
                  <a:gd name="connsiteY373" fmla="*/ 5761101 h 5800534"/>
                  <a:gd name="connsiteX374" fmla="*/ 3210116 w 5402008"/>
                  <a:gd name="connsiteY374" fmla="*/ 5761101 h 5800534"/>
                  <a:gd name="connsiteX375" fmla="*/ 3190399 w 5402008"/>
                  <a:gd name="connsiteY375" fmla="*/ 5780818 h 5800534"/>
                  <a:gd name="connsiteX376" fmla="*/ 3210116 w 5402008"/>
                  <a:gd name="connsiteY376" fmla="*/ 5800535 h 5800534"/>
                  <a:gd name="connsiteX377" fmla="*/ 3387185 w 5402008"/>
                  <a:gd name="connsiteY377" fmla="*/ 5800535 h 5800534"/>
                  <a:gd name="connsiteX378" fmla="*/ 3406902 w 5402008"/>
                  <a:gd name="connsiteY378" fmla="*/ 5780818 h 5800534"/>
                  <a:gd name="connsiteX379" fmla="*/ 3387185 w 5402008"/>
                  <a:gd name="connsiteY379" fmla="*/ 5761101 h 5800534"/>
                  <a:gd name="connsiteX380" fmla="*/ 3273266 w 5402008"/>
                  <a:gd name="connsiteY380" fmla="*/ 19717 h 5800534"/>
                  <a:gd name="connsiteX381" fmla="*/ 3253549 w 5402008"/>
                  <a:gd name="connsiteY381" fmla="*/ 0 h 5800534"/>
                  <a:gd name="connsiteX382" fmla="*/ 3076480 w 5402008"/>
                  <a:gd name="connsiteY382" fmla="*/ 0 h 5800534"/>
                  <a:gd name="connsiteX383" fmla="*/ 3056763 w 5402008"/>
                  <a:gd name="connsiteY383" fmla="*/ 19717 h 5800534"/>
                  <a:gd name="connsiteX384" fmla="*/ 3076480 w 5402008"/>
                  <a:gd name="connsiteY384" fmla="*/ 39434 h 5800534"/>
                  <a:gd name="connsiteX385" fmla="*/ 3253549 w 5402008"/>
                  <a:gd name="connsiteY385" fmla="*/ 39434 h 5800534"/>
                  <a:gd name="connsiteX386" fmla="*/ 3273266 w 5402008"/>
                  <a:gd name="connsiteY386" fmla="*/ 19717 h 5800534"/>
                  <a:gd name="connsiteX387" fmla="*/ 4095655 w 5402008"/>
                  <a:gd name="connsiteY387" fmla="*/ 5761101 h 5800534"/>
                  <a:gd name="connsiteX388" fmla="*/ 3918490 w 5402008"/>
                  <a:gd name="connsiteY388" fmla="*/ 5761101 h 5800534"/>
                  <a:gd name="connsiteX389" fmla="*/ 3898773 w 5402008"/>
                  <a:gd name="connsiteY389" fmla="*/ 5780818 h 5800534"/>
                  <a:gd name="connsiteX390" fmla="*/ 3918490 w 5402008"/>
                  <a:gd name="connsiteY390" fmla="*/ 5800535 h 5800534"/>
                  <a:gd name="connsiteX391" fmla="*/ 4095655 w 5402008"/>
                  <a:gd name="connsiteY391" fmla="*/ 5800535 h 5800534"/>
                  <a:gd name="connsiteX392" fmla="*/ 4115372 w 5402008"/>
                  <a:gd name="connsiteY392" fmla="*/ 5780818 h 5800534"/>
                  <a:gd name="connsiteX393" fmla="*/ 4095655 w 5402008"/>
                  <a:gd name="connsiteY393" fmla="*/ 5761101 h 5800534"/>
                  <a:gd name="connsiteX394" fmla="*/ 5019389 w 5402008"/>
                  <a:gd name="connsiteY394" fmla="*/ 80867 h 5800534"/>
                  <a:gd name="connsiteX395" fmla="*/ 5037773 w 5402008"/>
                  <a:gd name="connsiteY395" fmla="*/ 68485 h 5800534"/>
                  <a:gd name="connsiteX396" fmla="*/ 5026819 w 5402008"/>
                  <a:gd name="connsiteY396" fmla="*/ 42767 h 5800534"/>
                  <a:gd name="connsiteX397" fmla="*/ 4849082 w 5402008"/>
                  <a:gd name="connsiteY397" fmla="*/ 1619 h 5800534"/>
                  <a:gd name="connsiteX398" fmla="*/ 4827937 w 5402008"/>
                  <a:gd name="connsiteY398" fmla="*/ 19907 h 5800534"/>
                  <a:gd name="connsiteX399" fmla="*/ 4846225 w 5402008"/>
                  <a:gd name="connsiteY399" fmla="*/ 41053 h 5800534"/>
                  <a:gd name="connsiteX400" fmla="*/ 5012151 w 5402008"/>
                  <a:gd name="connsiteY400" fmla="*/ 79439 h 5800534"/>
                  <a:gd name="connsiteX401" fmla="*/ 5019389 w 5402008"/>
                  <a:gd name="connsiteY401" fmla="*/ 80867 h 5800534"/>
                  <a:gd name="connsiteX402" fmla="*/ 4806410 w 5402008"/>
                  <a:gd name="connsiteY402" fmla="*/ 5761101 h 5800534"/>
                  <a:gd name="connsiteX403" fmla="*/ 4627055 w 5402008"/>
                  <a:gd name="connsiteY403" fmla="*/ 5761101 h 5800534"/>
                  <a:gd name="connsiteX404" fmla="*/ 4607338 w 5402008"/>
                  <a:gd name="connsiteY404" fmla="*/ 5780818 h 5800534"/>
                  <a:gd name="connsiteX405" fmla="*/ 4627055 w 5402008"/>
                  <a:gd name="connsiteY405" fmla="*/ 5800535 h 5800534"/>
                  <a:gd name="connsiteX406" fmla="*/ 4804410 w 5402008"/>
                  <a:gd name="connsiteY406" fmla="*/ 5800535 h 5800534"/>
                  <a:gd name="connsiteX407" fmla="*/ 4806315 w 5402008"/>
                  <a:gd name="connsiteY407" fmla="*/ 5800535 h 5800534"/>
                  <a:gd name="connsiteX408" fmla="*/ 4826032 w 5402008"/>
                  <a:gd name="connsiteY408" fmla="*/ 5780818 h 5800534"/>
                  <a:gd name="connsiteX409" fmla="*/ 4806410 w 5402008"/>
                  <a:gd name="connsiteY409" fmla="*/ 5761101 h 5800534"/>
                  <a:gd name="connsiteX410" fmla="*/ 4335971 w 5402008"/>
                  <a:gd name="connsiteY410" fmla="*/ 19717 h 5800534"/>
                  <a:gd name="connsiteX411" fmla="*/ 4316254 w 5402008"/>
                  <a:gd name="connsiteY411" fmla="*/ 0 h 5800534"/>
                  <a:gd name="connsiteX412" fmla="*/ 4139184 w 5402008"/>
                  <a:gd name="connsiteY412" fmla="*/ 0 h 5800534"/>
                  <a:gd name="connsiteX413" fmla="*/ 4119467 w 5402008"/>
                  <a:gd name="connsiteY413" fmla="*/ 19717 h 5800534"/>
                  <a:gd name="connsiteX414" fmla="*/ 4139184 w 5402008"/>
                  <a:gd name="connsiteY414" fmla="*/ 39434 h 5800534"/>
                  <a:gd name="connsiteX415" fmla="*/ 4316254 w 5402008"/>
                  <a:gd name="connsiteY415" fmla="*/ 39434 h 5800534"/>
                  <a:gd name="connsiteX416" fmla="*/ 4335971 w 5402008"/>
                  <a:gd name="connsiteY416" fmla="*/ 19717 h 5800534"/>
                  <a:gd name="connsiteX417" fmla="*/ 5126927 w 5402008"/>
                  <a:gd name="connsiteY417" fmla="*/ 5658422 h 5800534"/>
                  <a:gd name="connsiteX418" fmla="*/ 4974622 w 5402008"/>
                  <a:gd name="connsiteY418" fmla="*/ 5734622 h 5800534"/>
                  <a:gd name="connsiteX419" fmla="*/ 4961858 w 5402008"/>
                  <a:gd name="connsiteY419" fmla="*/ 5759482 h 5800534"/>
                  <a:gd name="connsiteX420" fmla="*/ 4980718 w 5402008"/>
                  <a:gd name="connsiteY420" fmla="*/ 5773198 h 5800534"/>
                  <a:gd name="connsiteX421" fmla="*/ 4986719 w 5402008"/>
                  <a:gd name="connsiteY421" fmla="*/ 5772245 h 5800534"/>
                  <a:gd name="connsiteX422" fmla="*/ 5149882 w 5402008"/>
                  <a:gd name="connsiteY422" fmla="*/ 5690616 h 5800534"/>
                  <a:gd name="connsiteX423" fmla="*/ 5154549 w 5402008"/>
                  <a:gd name="connsiteY423" fmla="*/ 5663089 h 5800534"/>
                  <a:gd name="connsiteX424" fmla="*/ 5126927 w 5402008"/>
                  <a:gd name="connsiteY424" fmla="*/ 5658422 h 5800534"/>
                  <a:gd name="connsiteX425" fmla="*/ 4690206 w 5402008"/>
                  <a:gd name="connsiteY425" fmla="*/ 19717 h 5800534"/>
                  <a:gd name="connsiteX426" fmla="*/ 4670489 w 5402008"/>
                  <a:gd name="connsiteY426" fmla="*/ 0 h 5800534"/>
                  <a:gd name="connsiteX427" fmla="*/ 4493419 w 5402008"/>
                  <a:gd name="connsiteY427" fmla="*/ 0 h 5800534"/>
                  <a:gd name="connsiteX428" fmla="*/ 4473702 w 5402008"/>
                  <a:gd name="connsiteY428" fmla="*/ 19717 h 5800534"/>
                  <a:gd name="connsiteX429" fmla="*/ 4493419 w 5402008"/>
                  <a:gd name="connsiteY429" fmla="*/ 39434 h 5800534"/>
                  <a:gd name="connsiteX430" fmla="*/ 4670489 w 5402008"/>
                  <a:gd name="connsiteY430" fmla="*/ 39434 h 5800534"/>
                  <a:gd name="connsiteX431" fmla="*/ 4690206 w 5402008"/>
                  <a:gd name="connsiteY431" fmla="*/ 19717 h 5800534"/>
                  <a:gd name="connsiteX432" fmla="*/ 4449890 w 5402008"/>
                  <a:gd name="connsiteY432" fmla="*/ 5761101 h 5800534"/>
                  <a:gd name="connsiteX433" fmla="*/ 4272820 w 5402008"/>
                  <a:gd name="connsiteY433" fmla="*/ 5761101 h 5800534"/>
                  <a:gd name="connsiteX434" fmla="*/ 4253103 w 5402008"/>
                  <a:gd name="connsiteY434" fmla="*/ 5780818 h 5800534"/>
                  <a:gd name="connsiteX435" fmla="*/ 4272820 w 5402008"/>
                  <a:gd name="connsiteY435" fmla="*/ 5800535 h 5800534"/>
                  <a:gd name="connsiteX436" fmla="*/ 4449890 w 5402008"/>
                  <a:gd name="connsiteY436" fmla="*/ 5800535 h 5800534"/>
                  <a:gd name="connsiteX437" fmla="*/ 4469606 w 5402008"/>
                  <a:gd name="connsiteY437" fmla="*/ 5780818 h 5800534"/>
                  <a:gd name="connsiteX438" fmla="*/ 4449890 w 5402008"/>
                  <a:gd name="connsiteY438" fmla="*/ 5761101 h 58005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</a:cxnLst>
                <a:rect l="l" t="t" r="r" b="b"/>
                <a:pathLst>
                  <a:path w="5402008" h="5800534">
                    <a:moveTo>
                      <a:pt x="1147858" y="19717"/>
                    </a:moveTo>
                    <a:cubicBezTo>
                      <a:pt x="1147858" y="8763"/>
                      <a:pt x="1139000" y="0"/>
                      <a:pt x="1128141" y="0"/>
                    </a:cubicBezTo>
                    <a:lnTo>
                      <a:pt x="950976" y="0"/>
                    </a:lnTo>
                    <a:cubicBezTo>
                      <a:pt x="940022" y="0"/>
                      <a:pt x="931259" y="8858"/>
                      <a:pt x="931259" y="19717"/>
                    </a:cubicBezTo>
                    <a:cubicBezTo>
                      <a:pt x="931259" y="30670"/>
                      <a:pt x="940118" y="39434"/>
                      <a:pt x="950976" y="39434"/>
                    </a:cubicBezTo>
                    <a:lnTo>
                      <a:pt x="1128141" y="39434"/>
                    </a:lnTo>
                    <a:cubicBezTo>
                      <a:pt x="1139000" y="39434"/>
                      <a:pt x="1147858" y="30670"/>
                      <a:pt x="1147858" y="19717"/>
                    </a:cubicBezTo>
                    <a:close/>
                    <a:moveTo>
                      <a:pt x="1261872" y="5761101"/>
                    </a:moveTo>
                    <a:lnTo>
                      <a:pt x="1084707" y="5761101"/>
                    </a:lnTo>
                    <a:cubicBezTo>
                      <a:pt x="1073753" y="5761101"/>
                      <a:pt x="1064990" y="5769959"/>
                      <a:pt x="1064990" y="5780818"/>
                    </a:cubicBezTo>
                    <a:cubicBezTo>
                      <a:pt x="1064990" y="5791772"/>
                      <a:pt x="1073849" y="5800535"/>
                      <a:pt x="1084707" y="5800535"/>
                    </a:cubicBezTo>
                    <a:lnTo>
                      <a:pt x="1261872" y="5800535"/>
                    </a:lnTo>
                    <a:cubicBezTo>
                      <a:pt x="1272826" y="5800535"/>
                      <a:pt x="1281589" y="5791677"/>
                      <a:pt x="1281589" y="5780818"/>
                    </a:cubicBezTo>
                    <a:cubicBezTo>
                      <a:pt x="1281589" y="5769959"/>
                      <a:pt x="1272731" y="5761101"/>
                      <a:pt x="1261872" y="5761101"/>
                    </a:cubicBezTo>
                    <a:close/>
                    <a:moveTo>
                      <a:pt x="907637" y="5761101"/>
                    </a:moveTo>
                    <a:lnTo>
                      <a:pt x="730472" y="5761101"/>
                    </a:lnTo>
                    <a:cubicBezTo>
                      <a:pt x="719519" y="5761101"/>
                      <a:pt x="710756" y="5769959"/>
                      <a:pt x="710756" y="5780818"/>
                    </a:cubicBezTo>
                    <a:cubicBezTo>
                      <a:pt x="710756" y="5791772"/>
                      <a:pt x="719614" y="5800535"/>
                      <a:pt x="730472" y="5800535"/>
                    </a:cubicBezTo>
                    <a:lnTo>
                      <a:pt x="907637" y="5800535"/>
                    </a:lnTo>
                    <a:cubicBezTo>
                      <a:pt x="918591" y="5800535"/>
                      <a:pt x="927354" y="5791677"/>
                      <a:pt x="927354" y="5780818"/>
                    </a:cubicBezTo>
                    <a:cubicBezTo>
                      <a:pt x="927354" y="5769959"/>
                      <a:pt x="918496" y="5761101"/>
                      <a:pt x="907637" y="5761101"/>
                    </a:cubicBezTo>
                    <a:close/>
                    <a:moveTo>
                      <a:pt x="441293" y="40767"/>
                    </a:moveTo>
                    <a:cubicBezTo>
                      <a:pt x="437960" y="30385"/>
                      <a:pt x="426911" y="24575"/>
                      <a:pt x="416433" y="27908"/>
                    </a:cubicBezTo>
                    <a:cubicBezTo>
                      <a:pt x="358140" y="46482"/>
                      <a:pt x="303181" y="73819"/>
                      <a:pt x="253079" y="109157"/>
                    </a:cubicBezTo>
                    <a:cubicBezTo>
                      <a:pt x="244126" y="115443"/>
                      <a:pt x="242030" y="127826"/>
                      <a:pt x="248317" y="136684"/>
                    </a:cubicBezTo>
                    <a:cubicBezTo>
                      <a:pt x="252127" y="142113"/>
                      <a:pt x="258318" y="145066"/>
                      <a:pt x="264509" y="145066"/>
                    </a:cubicBezTo>
                    <a:cubicBezTo>
                      <a:pt x="268415" y="145066"/>
                      <a:pt x="272415" y="143923"/>
                      <a:pt x="275939" y="141446"/>
                    </a:cubicBezTo>
                    <a:cubicBezTo>
                      <a:pt x="322707" y="108395"/>
                      <a:pt x="374047" y="82868"/>
                      <a:pt x="428435" y="65532"/>
                    </a:cubicBezTo>
                    <a:cubicBezTo>
                      <a:pt x="438912" y="62294"/>
                      <a:pt x="444627" y="51149"/>
                      <a:pt x="441293" y="40767"/>
                    </a:cubicBezTo>
                    <a:close/>
                    <a:moveTo>
                      <a:pt x="2678716" y="5761101"/>
                    </a:moveTo>
                    <a:lnTo>
                      <a:pt x="2501551" y="5761101"/>
                    </a:lnTo>
                    <a:cubicBezTo>
                      <a:pt x="2490597" y="5761101"/>
                      <a:pt x="2481834" y="5769959"/>
                      <a:pt x="2481834" y="5780818"/>
                    </a:cubicBezTo>
                    <a:cubicBezTo>
                      <a:pt x="2481834" y="5791772"/>
                      <a:pt x="2490692" y="5800535"/>
                      <a:pt x="2501551" y="5800535"/>
                    </a:cubicBezTo>
                    <a:lnTo>
                      <a:pt x="2678716" y="5800535"/>
                    </a:lnTo>
                    <a:cubicBezTo>
                      <a:pt x="2689670" y="5800535"/>
                      <a:pt x="2698433" y="5791677"/>
                      <a:pt x="2698433" y="5780818"/>
                    </a:cubicBezTo>
                    <a:cubicBezTo>
                      <a:pt x="2698528" y="5769959"/>
                      <a:pt x="2689670" y="5761101"/>
                      <a:pt x="2678716" y="5761101"/>
                    </a:cubicBezTo>
                    <a:close/>
                    <a:moveTo>
                      <a:pt x="793623" y="19717"/>
                    </a:moveTo>
                    <a:cubicBezTo>
                      <a:pt x="793623" y="8763"/>
                      <a:pt x="784765" y="0"/>
                      <a:pt x="773906" y="0"/>
                    </a:cubicBezTo>
                    <a:lnTo>
                      <a:pt x="596741" y="0"/>
                    </a:lnTo>
                    <a:cubicBezTo>
                      <a:pt x="585788" y="0"/>
                      <a:pt x="577025" y="8858"/>
                      <a:pt x="577025" y="19717"/>
                    </a:cubicBezTo>
                    <a:cubicBezTo>
                      <a:pt x="577025" y="30670"/>
                      <a:pt x="585883" y="39434"/>
                      <a:pt x="596741" y="39434"/>
                    </a:cubicBezTo>
                    <a:lnTo>
                      <a:pt x="773906" y="39434"/>
                    </a:lnTo>
                    <a:cubicBezTo>
                      <a:pt x="784765" y="39434"/>
                      <a:pt x="793623" y="30670"/>
                      <a:pt x="793623" y="19717"/>
                    </a:cubicBezTo>
                    <a:close/>
                    <a:moveTo>
                      <a:pt x="1502093" y="19717"/>
                    </a:moveTo>
                    <a:cubicBezTo>
                      <a:pt x="1502093" y="8763"/>
                      <a:pt x="1493234" y="0"/>
                      <a:pt x="1482376" y="0"/>
                    </a:cubicBezTo>
                    <a:lnTo>
                      <a:pt x="1305306" y="0"/>
                    </a:lnTo>
                    <a:cubicBezTo>
                      <a:pt x="1294352" y="0"/>
                      <a:pt x="1285589" y="8858"/>
                      <a:pt x="1285589" y="19717"/>
                    </a:cubicBezTo>
                    <a:cubicBezTo>
                      <a:pt x="1285589" y="30670"/>
                      <a:pt x="1294448" y="39434"/>
                      <a:pt x="1305306" y="39434"/>
                    </a:cubicBezTo>
                    <a:lnTo>
                      <a:pt x="1482376" y="39434"/>
                    </a:lnTo>
                    <a:cubicBezTo>
                      <a:pt x="1493234" y="39434"/>
                      <a:pt x="1502093" y="30670"/>
                      <a:pt x="1502093" y="19717"/>
                    </a:cubicBezTo>
                    <a:close/>
                    <a:moveTo>
                      <a:pt x="2324481" y="5761101"/>
                    </a:moveTo>
                    <a:lnTo>
                      <a:pt x="2147316" y="5761101"/>
                    </a:lnTo>
                    <a:cubicBezTo>
                      <a:pt x="2136362" y="5761101"/>
                      <a:pt x="2127599" y="5769959"/>
                      <a:pt x="2127599" y="5780818"/>
                    </a:cubicBezTo>
                    <a:cubicBezTo>
                      <a:pt x="2127599" y="5791772"/>
                      <a:pt x="2136458" y="5800535"/>
                      <a:pt x="2147316" y="5800535"/>
                    </a:cubicBezTo>
                    <a:lnTo>
                      <a:pt x="2324481" y="5800535"/>
                    </a:lnTo>
                    <a:cubicBezTo>
                      <a:pt x="2335435" y="5800535"/>
                      <a:pt x="2344198" y="5791677"/>
                      <a:pt x="2344198" y="5780818"/>
                    </a:cubicBezTo>
                    <a:cubicBezTo>
                      <a:pt x="2344293" y="5769959"/>
                      <a:pt x="2335435" y="5761101"/>
                      <a:pt x="2324481" y="5761101"/>
                    </a:cubicBezTo>
                    <a:close/>
                    <a:moveTo>
                      <a:pt x="2564797" y="19717"/>
                    </a:moveTo>
                    <a:cubicBezTo>
                      <a:pt x="2564797" y="8763"/>
                      <a:pt x="2555939" y="0"/>
                      <a:pt x="2545080" y="0"/>
                    </a:cubicBezTo>
                    <a:lnTo>
                      <a:pt x="2367915" y="0"/>
                    </a:lnTo>
                    <a:cubicBezTo>
                      <a:pt x="2356961" y="0"/>
                      <a:pt x="2348198" y="8858"/>
                      <a:pt x="2348198" y="19717"/>
                    </a:cubicBezTo>
                    <a:cubicBezTo>
                      <a:pt x="2348198" y="30670"/>
                      <a:pt x="2357057" y="39434"/>
                      <a:pt x="2367915" y="39434"/>
                    </a:cubicBezTo>
                    <a:lnTo>
                      <a:pt x="2545080" y="39434"/>
                    </a:lnTo>
                    <a:cubicBezTo>
                      <a:pt x="2555939" y="39434"/>
                      <a:pt x="2564797" y="30670"/>
                      <a:pt x="2564797" y="19717"/>
                    </a:cubicBezTo>
                    <a:close/>
                    <a:moveTo>
                      <a:pt x="129254" y="5506403"/>
                    </a:moveTo>
                    <a:cubicBezTo>
                      <a:pt x="123349" y="5497259"/>
                      <a:pt x="111062" y="5494687"/>
                      <a:pt x="101918" y="5500592"/>
                    </a:cubicBezTo>
                    <a:cubicBezTo>
                      <a:pt x="92774" y="5506498"/>
                      <a:pt x="90202" y="5518785"/>
                      <a:pt x="96107" y="5527930"/>
                    </a:cubicBezTo>
                    <a:cubicBezTo>
                      <a:pt x="129445" y="5579269"/>
                      <a:pt x="170307" y="5624989"/>
                      <a:pt x="217551" y="5664042"/>
                    </a:cubicBezTo>
                    <a:cubicBezTo>
                      <a:pt x="221266" y="5667090"/>
                      <a:pt x="225647" y="5668613"/>
                      <a:pt x="230124" y="5668613"/>
                    </a:cubicBezTo>
                    <a:cubicBezTo>
                      <a:pt x="235839" y="5668613"/>
                      <a:pt x="241459" y="5666137"/>
                      <a:pt x="245364" y="5661470"/>
                    </a:cubicBezTo>
                    <a:cubicBezTo>
                      <a:pt x="252317" y="5653088"/>
                      <a:pt x="251079" y="5640610"/>
                      <a:pt x="242697" y="5633657"/>
                    </a:cubicBezTo>
                    <a:cubicBezTo>
                      <a:pt x="198501" y="5597176"/>
                      <a:pt x="160401" y="5554409"/>
                      <a:pt x="129254" y="5506403"/>
                    </a:cubicBezTo>
                    <a:close/>
                    <a:moveTo>
                      <a:pt x="2210562" y="19717"/>
                    </a:moveTo>
                    <a:cubicBezTo>
                      <a:pt x="2210562" y="8763"/>
                      <a:pt x="2201704" y="0"/>
                      <a:pt x="2190845" y="0"/>
                    </a:cubicBezTo>
                    <a:lnTo>
                      <a:pt x="2013776" y="0"/>
                    </a:lnTo>
                    <a:cubicBezTo>
                      <a:pt x="2002822" y="0"/>
                      <a:pt x="1994059" y="8858"/>
                      <a:pt x="1994059" y="19717"/>
                    </a:cubicBezTo>
                    <a:cubicBezTo>
                      <a:pt x="1994059" y="30670"/>
                      <a:pt x="2002917" y="39434"/>
                      <a:pt x="2013776" y="39434"/>
                    </a:cubicBezTo>
                    <a:lnTo>
                      <a:pt x="2190845" y="39434"/>
                    </a:lnTo>
                    <a:cubicBezTo>
                      <a:pt x="2201704" y="39434"/>
                      <a:pt x="2210562" y="30670"/>
                      <a:pt x="2210562" y="19717"/>
                    </a:cubicBezTo>
                    <a:close/>
                    <a:moveTo>
                      <a:pt x="1970246" y="5761101"/>
                    </a:moveTo>
                    <a:lnTo>
                      <a:pt x="1793177" y="5761101"/>
                    </a:lnTo>
                    <a:cubicBezTo>
                      <a:pt x="1782223" y="5761101"/>
                      <a:pt x="1773460" y="5769959"/>
                      <a:pt x="1773460" y="5780818"/>
                    </a:cubicBezTo>
                    <a:cubicBezTo>
                      <a:pt x="1773460" y="5791772"/>
                      <a:pt x="1782318" y="5800535"/>
                      <a:pt x="1793177" y="5800535"/>
                    </a:cubicBezTo>
                    <a:lnTo>
                      <a:pt x="1970246" y="5800535"/>
                    </a:lnTo>
                    <a:cubicBezTo>
                      <a:pt x="1981200" y="5800535"/>
                      <a:pt x="1989963" y="5791677"/>
                      <a:pt x="1989963" y="5780818"/>
                    </a:cubicBezTo>
                    <a:cubicBezTo>
                      <a:pt x="1990058" y="5769959"/>
                      <a:pt x="1981200" y="5761101"/>
                      <a:pt x="1970246" y="5761101"/>
                    </a:cubicBezTo>
                    <a:close/>
                    <a:moveTo>
                      <a:pt x="1616012" y="5761101"/>
                    </a:moveTo>
                    <a:lnTo>
                      <a:pt x="1438942" y="5761101"/>
                    </a:lnTo>
                    <a:cubicBezTo>
                      <a:pt x="1427988" y="5761101"/>
                      <a:pt x="1419225" y="5769959"/>
                      <a:pt x="1419225" y="5780818"/>
                    </a:cubicBezTo>
                    <a:cubicBezTo>
                      <a:pt x="1419225" y="5791772"/>
                      <a:pt x="1428083" y="5800535"/>
                      <a:pt x="1438942" y="5800535"/>
                    </a:cubicBezTo>
                    <a:lnTo>
                      <a:pt x="1616012" y="5800535"/>
                    </a:lnTo>
                    <a:cubicBezTo>
                      <a:pt x="1626965" y="5800535"/>
                      <a:pt x="1635728" y="5791677"/>
                      <a:pt x="1635728" y="5780818"/>
                    </a:cubicBezTo>
                    <a:cubicBezTo>
                      <a:pt x="1635824" y="5769959"/>
                      <a:pt x="1626965" y="5761101"/>
                      <a:pt x="1616012" y="5761101"/>
                    </a:cubicBezTo>
                    <a:close/>
                    <a:moveTo>
                      <a:pt x="1856327" y="19717"/>
                    </a:moveTo>
                    <a:cubicBezTo>
                      <a:pt x="1856327" y="8763"/>
                      <a:pt x="1847469" y="0"/>
                      <a:pt x="1836611" y="0"/>
                    </a:cubicBezTo>
                    <a:lnTo>
                      <a:pt x="1659541" y="0"/>
                    </a:lnTo>
                    <a:cubicBezTo>
                      <a:pt x="1648587" y="0"/>
                      <a:pt x="1639824" y="8858"/>
                      <a:pt x="1639824" y="19717"/>
                    </a:cubicBezTo>
                    <a:cubicBezTo>
                      <a:pt x="1639824" y="30670"/>
                      <a:pt x="1648682" y="39434"/>
                      <a:pt x="1659541" y="39434"/>
                    </a:cubicBezTo>
                    <a:lnTo>
                      <a:pt x="1836611" y="39434"/>
                    </a:lnTo>
                    <a:cubicBezTo>
                      <a:pt x="1847469" y="39434"/>
                      <a:pt x="1856327" y="30670"/>
                      <a:pt x="1856327" y="19717"/>
                    </a:cubicBezTo>
                    <a:close/>
                    <a:moveTo>
                      <a:pt x="554927" y="5759482"/>
                    </a:moveTo>
                    <a:cubicBezTo>
                      <a:pt x="497776" y="5755101"/>
                      <a:pt x="441960" y="5742147"/>
                      <a:pt x="389096" y="5720715"/>
                    </a:cubicBezTo>
                    <a:cubicBezTo>
                      <a:pt x="379000" y="5716620"/>
                      <a:pt x="367475" y="5721572"/>
                      <a:pt x="363379" y="5731669"/>
                    </a:cubicBezTo>
                    <a:cubicBezTo>
                      <a:pt x="359283" y="5741765"/>
                      <a:pt x="364141" y="5753291"/>
                      <a:pt x="374333" y="5757386"/>
                    </a:cubicBezTo>
                    <a:cubicBezTo>
                      <a:pt x="431006" y="5780247"/>
                      <a:pt x="490728" y="5794248"/>
                      <a:pt x="551974" y="5798915"/>
                    </a:cubicBezTo>
                    <a:cubicBezTo>
                      <a:pt x="552450" y="5798915"/>
                      <a:pt x="553022" y="5799011"/>
                      <a:pt x="553498" y="5799011"/>
                    </a:cubicBezTo>
                    <a:cubicBezTo>
                      <a:pt x="563690" y="5799011"/>
                      <a:pt x="572357" y="5791105"/>
                      <a:pt x="573215" y="5780723"/>
                    </a:cubicBezTo>
                    <a:cubicBezTo>
                      <a:pt x="573977" y="5769769"/>
                      <a:pt x="565785" y="5760339"/>
                      <a:pt x="554927" y="5759482"/>
                    </a:cubicBezTo>
                    <a:close/>
                    <a:moveTo>
                      <a:pt x="19717" y="2189893"/>
                    </a:moveTo>
                    <a:cubicBezTo>
                      <a:pt x="30671" y="2189893"/>
                      <a:pt x="39434" y="2181035"/>
                      <a:pt x="39434" y="2170176"/>
                    </a:cubicBezTo>
                    <a:lnTo>
                      <a:pt x="39434" y="1993011"/>
                    </a:lnTo>
                    <a:cubicBezTo>
                      <a:pt x="39434" y="1982057"/>
                      <a:pt x="30575" y="1973294"/>
                      <a:pt x="19717" y="1973294"/>
                    </a:cubicBezTo>
                    <a:cubicBezTo>
                      <a:pt x="8763" y="1973294"/>
                      <a:pt x="0" y="1982153"/>
                      <a:pt x="0" y="1993011"/>
                    </a:cubicBezTo>
                    <a:lnTo>
                      <a:pt x="0" y="2170176"/>
                    </a:lnTo>
                    <a:cubicBezTo>
                      <a:pt x="0" y="2181035"/>
                      <a:pt x="8858" y="2189893"/>
                      <a:pt x="19717" y="2189893"/>
                    </a:cubicBezTo>
                    <a:close/>
                    <a:moveTo>
                      <a:pt x="19717" y="2544127"/>
                    </a:moveTo>
                    <a:cubicBezTo>
                      <a:pt x="30671" y="2544127"/>
                      <a:pt x="39434" y="2535269"/>
                      <a:pt x="39434" y="2524411"/>
                    </a:cubicBezTo>
                    <a:lnTo>
                      <a:pt x="39434" y="2347341"/>
                    </a:lnTo>
                    <a:cubicBezTo>
                      <a:pt x="39434" y="2336387"/>
                      <a:pt x="30575" y="2327624"/>
                      <a:pt x="19717" y="2327624"/>
                    </a:cubicBezTo>
                    <a:cubicBezTo>
                      <a:pt x="8763" y="2327624"/>
                      <a:pt x="0" y="2336483"/>
                      <a:pt x="0" y="2347341"/>
                    </a:cubicBezTo>
                    <a:lnTo>
                      <a:pt x="0" y="2524411"/>
                    </a:lnTo>
                    <a:cubicBezTo>
                      <a:pt x="0" y="2535269"/>
                      <a:pt x="8858" y="2544127"/>
                      <a:pt x="19717" y="2544127"/>
                    </a:cubicBezTo>
                    <a:close/>
                    <a:moveTo>
                      <a:pt x="19717" y="1835658"/>
                    </a:moveTo>
                    <a:cubicBezTo>
                      <a:pt x="30671" y="1835658"/>
                      <a:pt x="39434" y="1826800"/>
                      <a:pt x="39434" y="1815941"/>
                    </a:cubicBezTo>
                    <a:lnTo>
                      <a:pt x="39434" y="1638776"/>
                    </a:lnTo>
                    <a:cubicBezTo>
                      <a:pt x="39434" y="1627823"/>
                      <a:pt x="30575" y="1619060"/>
                      <a:pt x="19717" y="1619060"/>
                    </a:cubicBezTo>
                    <a:cubicBezTo>
                      <a:pt x="8763" y="1619060"/>
                      <a:pt x="0" y="1627918"/>
                      <a:pt x="0" y="1638776"/>
                    </a:cubicBezTo>
                    <a:lnTo>
                      <a:pt x="0" y="1815941"/>
                    </a:lnTo>
                    <a:cubicBezTo>
                      <a:pt x="0" y="1826800"/>
                      <a:pt x="8858" y="1835658"/>
                      <a:pt x="19717" y="1835658"/>
                    </a:cubicBezTo>
                    <a:close/>
                    <a:moveTo>
                      <a:pt x="19717" y="772954"/>
                    </a:moveTo>
                    <a:cubicBezTo>
                      <a:pt x="30671" y="772954"/>
                      <a:pt x="39434" y="764096"/>
                      <a:pt x="39434" y="753237"/>
                    </a:cubicBezTo>
                    <a:lnTo>
                      <a:pt x="39434" y="597789"/>
                    </a:lnTo>
                    <a:cubicBezTo>
                      <a:pt x="39434" y="590741"/>
                      <a:pt x="39529" y="583787"/>
                      <a:pt x="39815" y="576739"/>
                    </a:cubicBezTo>
                    <a:cubicBezTo>
                      <a:pt x="40195" y="565880"/>
                      <a:pt x="31718" y="556641"/>
                      <a:pt x="20765" y="556260"/>
                    </a:cubicBezTo>
                    <a:cubicBezTo>
                      <a:pt x="10001" y="555879"/>
                      <a:pt x="667" y="564356"/>
                      <a:pt x="286" y="575310"/>
                    </a:cubicBezTo>
                    <a:cubicBezTo>
                      <a:pt x="95" y="582835"/>
                      <a:pt x="0" y="590264"/>
                      <a:pt x="0" y="597789"/>
                    </a:cubicBezTo>
                    <a:lnTo>
                      <a:pt x="0" y="753142"/>
                    </a:lnTo>
                    <a:cubicBezTo>
                      <a:pt x="0" y="764096"/>
                      <a:pt x="8858" y="772954"/>
                      <a:pt x="19717" y="772954"/>
                    </a:cubicBezTo>
                    <a:close/>
                    <a:moveTo>
                      <a:pt x="19717" y="1481423"/>
                    </a:moveTo>
                    <a:cubicBezTo>
                      <a:pt x="30671" y="1481423"/>
                      <a:pt x="39434" y="1472565"/>
                      <a:pt x="39434" y="1461707"/>
                    </a:cubicBezTo>
                    <a:lnTo>
                      <a:pt x="39434" y="1284637"/>
                    </a:lnTo>
                    <a:cubicBezTo>
                      <a:pt x="39434" y="1273683"/>
                      <a:pt x="30575" y="1264920"/>
                      <a:pt x="19717" y="1264920"/>
                    </a:cubicBezTo>
                    <a:cubicBezTo>
                      <a:pt x="8763" y="1264920"/>
                      <a:pt x="0" y="1273778"/>
                      <a:pt x="0" y="1284637"/>
                    </a:cubicBezTo>
                    <a:lnTo>
                      <a:pt x="0" y="1461707"/>
                    </a:lnTo>
                    <a:cubicBezTo>
                      <a:pt x="0" y="1472565"/>
                      <a:pt x="8858" y="1481423"/>
                      <a:pt x="19717" y="1481423"/>
                    </a:cubicBezTo>
                    <a:close/>
                    <a:moveTo>
                      <a:pt x="19717" y="2898362"/>
                    </a:moveTo>
                    <a:cubicBezTo>
                      <a:pt x="30671" y="2898362"/>
                      <a:pt x="39434" y="2889504"/>
                      <a:pt x="39434" y="2878646"/>
                    </a:cubicBezTo>
                    <a:lnTo>
                      <a:pt x="39434" y="2701481"/>
                    </a:lnTo>
                    <a:cubicBezTo>
                      <a:pt x="39434" y="2690527"/>
                      <a:pt x="30575" y="2681764"/>
                      <a:pt x="19717" y="2681764"/>
                    </a:cubicBezTo>
                    <a:cubicBezTo>
                      <a:pt x="8763" y="2681764"/>
                      <a:pt x="0" y="2690622"/>
                      <a:pt x="0" y="2701481"/>
                    </a:cubicBezTo>
                    <a:lnTo>
                      <a:pt x="0" y="2878646"/>
                    </a:lnTo>
                    <a:cubicBezTo>
                      <a:pt x="0" y="2889504"/>
                      <a:pt x="8858" y="2898362"/>
                      <a:pt x="19717" y="2898362"/>
                    </a:cubicBezTo>
                    <a:close/>
                    <a:moveTo>
                      <a:pt x="19717" y="1127189"/>
                    </a:moveTo>
                    <a:cubicBezTo>
                      <a:pt x="30671" y="1127189"/>
                      <a:pt x="39434" y="1118330"/>
                      <a:pt x="39434" y="1107472"/>
                    </a:cubicBezTo>
                    <a:lnTo>
                      <a:pt x="39434" y="930307"/>
                    </a:lnTo>
                    <a:cubicBezTo>
                      <a:pt x="39434" y="919353"/>
                      <a:pt x="30575" y="910590"/>
                      <a:pt x="19717" y="910590"/>
                    </a:cubicBezTo>
                    <a:cubicBezTo>
                      <a:pt x="8763" y="910590"/>
                      <a:pt x="0" y="919448"/>
                      <a:pt x="0" y="930307"/>
                    </a:cubicBezTo>
                    <a:lnTo>
                      <a:pt x="0" y="1107472"/>
                    </a:lnTo>
                    <a:cubicBezTo>
                      <a:pt x="0" y="1118330"/>
                      <a:pt x="8858" y="1127189"/>
                      <a:pt x="19717" y="1127189"/>
                    </a:cubicBezTo>
                    <a:close/>
                    <a:moveTo>
                      <a:pt x="19717" y="3961067"/>
                    </a:moveTo>
                    <a:cubicBezTo>
                      <a:pt x="30671" y="3961067"/>
                      <a:pt x="39434" y="3952208"/>
                      <a:pt x="39434" y="3941350"/>
                    </a:cubicBezTo>
                    <a:lnTo>
                      <a:pt x="39434" y="3764185"/>
                    </a:lnTo>
                    <a:cubicBezTo>
                      <a:pt x="39434" y="3753231"/>
                      <a:pt x="30575" y="3744468"/>
                      <a:pt x="19717" y="3744468"/>
                    </a:cubicBezTo>
                    <a:cubicBezTo>
                      <a:pt x="8763" y="3744468"/>
                      <a:pt x="0" y="3753326"/>
                      <a:pt x="0" y="3764185"/>
                    </a:cubicBezTo>
                    <a:lnTo>
                      <a:pt x="0" y="3941350"/>
                    </a:lnTo>
                    <a:cubicBezTo>
                      <a:pt x="0" y="3952208"/>
                      <a:pt x="8858" y="3961067"/>
                      <a:pt x="19717" y="3961067"/>
                    </a:cubicBezTo>
                    <a:close/>
                    <a:moveTo>
                      <a:pt x="19717" y="5023771"/>
                    </a:moveTo>
                    <a:cubicBezTo>
                      <a:pt x="30671" y="5023771"/>
                      <a:pt x="39434" y="5014913"/>
                      <a:pt x="39434" y="5004055"/>
                    </a:cubicBezTo>
                    <a:lnTo>
                      <a:pt x="39434" y="4826889"/>
                    </a:lnTo>
                    <a:cubicBezTo>
                      <a:pt x="39434" y="4815935"/>
                      <a:pt x="30575" y="4807173"/>
                      <a:pt x="19717" y="4807173"/>
                    </a:cubicBezTo>
                    <a:cubicBezTo>
                      <a:pt x="8763" y="4807173"/>
                      <a:pt x="0" y="4816031"/>
                      <a:pt x="0" y="4826889"/>
                    </a:cubicBezTo>
                    <a:lnTo>
                      <a:pt x="0" y="5004055"/>
                    </a:lnTo>
                    <a:cubicBezTo>
                      <a:pt x="0" y="5014913"/>
                      <a:pt x="8858" y="5023771"/>
                      <a:pt x="19717" y="5023771"/>
                    </a:cubicBezTo>
                    <a:close/>
                    <a:moveTo>
                      <a:pt x="19717" y="4669536"/>
                    </a:moveTo>
                    <a:cubicBezTo>
                      <a:pt x="30671" y="4669536"/>
                      <a:pt x="39434" y="4660678"/>
                      <a:pt x="39434" y="4649819"/>
                    </a:cubicBezTo>
                    <a:lnTo>
                      <a:pt x="39434" y="4472654"/>
                    </a:lnTo>
                    <a:cubicBezTo>
                      <a:pt x="39434" y="4461701"/>
                      <a:pt x="30575" y="4452938"/>
                      <a:pt x="19717" y="4452938"/>
                    </a:cubicBezTo>
                    <a:cubicBezTo>
                      <a:pt x="8763" y="4452938"/>
                      <a:pt x="0" y="4461796"/>
                      <a:pt x="0" y="4472654"/>
                    </a:cubicBezTo>
                    <a:lnTo>
                      <a:pt x="0" y="4649819"/>
                    </a:lnTo>
                    <a:cubicBezTo>
                      <a:pt x="0" y="4660678"/>
                      <a:pt x="8858" y="4669536"/>
                      <a:pt x="19717" y="4669536"/>
                    </a:cubicBezTo>
                    <a:close/>
                    <a:moveTo>
                      <a:pt x="39529" y="5202746"/>
                    </a:moveTo>
                    <a:lnTo>
                      <a:pt x="39529" y="5181124"/>
                    </a:lnTo>
                    <a:cubicBezTo>
                      <a:pt x="39529" y="5170171"/>
                      <a:pt x="30671" y="5161407"/>
                      <a:pt x="19812" y="5161407"/>
                    </a:cubicBezTo>
                    <a:cubicBezTo>
                      <a:pt x="8858" y="5161407"/>
                      <a:pt x="95" y="5170265"/>
                      <a:pt x="95" y="5181124"/>
                    </a:cubicBezTo>
                    <a:lnTo>
                      <a:pt x="95" y="5202746"/>
                    </a:lnTo>
                    <a:cubicBezTo>
                      <a:pt x="95" y="5256657"/>
                      <a:pt x="7239" y="5310092"/>
                      <a:pt x="21431" y="5361527"/>
                    </a:cubicBezTo>
                    <a:cubicBezTo>
                      <a:pt x="23813" y="5370290"/>
                      <a:pt x="31814" y="5376101"/>
                      <a:pt x="40481" y="5376101"/>
                    </a:cubicBezTo>
                    <a:cubicBezTo>
                      <a:pt x="42196" y="5376101"/>
                      <a:pt x="44006" y="5375910"/>
                      <a:pt x="45720" y="5375339"/>
                    </a:cubicBezTo>
                    <a:cubicBezTo>
                      <a:pt x="56198" y="5372481"/>
                      <a:pt x="62389" y="5361527"/>
                      <a:pt x="59531" y="5351050"/>
                    </a:cubicBezTo>
                    <a:cubicBezTo>
                      <a:pt x="46196" y="5303044"/>
                      <a:pt x="39529" y="5253133"/>
                      <a:pt x="39529" y="5202746"/>
                    </a:cubicBezTo>
                    <a:close/>
                    <a:moveTo>
                      <a:pt x="149638" y="232124"/>
                    </a:moveTo>
                    <a:cubicBezTo>
                      <a:pt x="140970" y="225552"/>
                      <a:pt x="128588" y="227267"/>
                      <a:pt x="121920" y="235934"/>
                    </a:cubicBezTo>
                    <a:cubicBezTo>
                      <a:pt x="84773" y="284798"/>
                      <a:pt x="55436" y="338709"/>
                      <a:pt x="34862" y="396240"/>
                    </a:cubicBezTo>
                    <a:cubicBezTo>
                      <a:pt x="31147" y="406527"/>
                      <a:pt x="36481" y="417862"/>
                      <a:pt x="46768" y="421481"/>
                    </a:cubicBezTo>
                    <a:cubicBezTo>
                      <a:pt x="48959" y="422243"/>
                      <a:pt x="51245" y="422624"/>
                      <a:pt x="53435" y="422624"/>
                    </a:cubicBezTo>
                    <a:cubicBezTo>
                      <a:pt x="61532" y="422624"/>
                      <a:pt x="69152" y="417576"/>
                      <a:pt x="72009" y="409480"/>
                    </a:cubicBezTo>
                    <a:cubicBezTo>
                      <a:pt x="91250" y="355759"/>
                      <a:pt x="118586" y="305372"/>
                      <a:pt x="153353" y="259842"/>
                    </a:cubicBezTo>
                    <a:cubicBezTo>
                      <a:pt x="160020" y="251174"/>
                      <a:pt x="158306" y="238792"/>
                      <a:pt x="149638" y="232124"/>
                    </a:cubicBezTo>
                    <a:close/>
                    <a:moveTo>
                      <a:pt x="19717" y="4315301"/>
                    </a:moveTo>
                    <a:cubicBezTo>
                      <a:pt x="30671" y="4315301"/>
                      <a:pt x="39434" y="4306443"/>
                      <a:pt x="39434" y="4295585"/>
                    </a:cubicBezTo>
                    <a:lnTo>
                      <a:pt x="39434" y="4118515"/>
                    </a:lnTo>
                    <a:cubicBezTo>
                      <a:pt x="39434" y="4107561"/>
                      <a:pt x="30575" y="4098798"/>
                      <a:pt x="19717" y="4098798"/>
                    </a:cubicBezTo>
                    <a:cubicBezTo>
                      <a:pt x="8763" y="4098798"/>
                      <a:pt x="0" y="4107656"/>
                      <a:pt x="0" y="4118515"/>
                    </a:cubicBezTo>
                    <a:lnTo>
                      <a:pt x="0" y="4295585"/>
                    </a:lnTo>
                    <a:cubicBezTo>
                      <a:pt x="0" y="4306443"/>
                      <a:pt x="8858" y="4315301"/>
                      <a:pt x="19717" y="4315301"/>
                    </a:cubicBezTo>
                    <a:close/>
                    <a:moveTo>
                      <a:pt x="19717" y="3606832"/>
                    </a:moveTo>
                    <a:cubicBezTo>
                      <a:pt x="30671" y="3606832"/>
                      <a:pt x="39434" y="3597974"/>
                      <a:pt x="39434" y="3587020"/>
                    </a:cubicBezTo>
                    <a:lnTo>
                      <a:pt x="39434" y="3409855"/>
                    </a:lnTo>
                    <a:cubicBezTo>
                      <a:pt x="39434" y="3398901"/>
                      <a:pt x="30575" y="3390138"/>
                      <a:pt x="19717" y="3390138"/>
                    </a:cubicBezTo>
                    <a:cubicBezTo>
                      <a:pt x="8763" y="3390138"/>
                      <a:pt x="0" y="3398996"/>
                      <a:pt x="0" y="3409855"/>
                    </a:cubicBezTo>
                    <a:lnTo>
                      <a:pt x="0" y="3587020"/>
                    </a:lnTo>
                    <a:cubicBezTo>
                      <a:pt x="0" y="3597974"/>
                      <a:pt x="8858" y="3606832"/>
                      <a:pt x="19717" y="3606832"/>
                    </a:cubicBezTo>
                    <a:close/>
                    <a:moveTo>
                      <a:pt x="19717" y="3252597"/>
                    </a:moveTo>
                    <a:cubicBezTo>
                      <a:pt x="30671" y="3252597"/>
                      <a:pt x="39434" y="3243739"/>
                      <a:pt x="39434" y="3232881"/>
                    </a:cubicBezTo>
                    <a:lnTo>
                      <a:pt x="39434" y="3055715"/>
                    </a:lnTo>
                    <a:cubicBezTo>
                      <a:pt x="39434" y="3044762"/>
                      <a:pt x="30575" y="3035999"/>
                      <a:pt x="19717" y="3035999"/>
                    </a:cubicBezTo>
                    <a:cubicBezTo>
                      <a:pt x="8763" y="3035999"/>
                      <a:pt x="0" y="3044857"/>
                      <a:pt x="0" y="3055715"/>
                    </a:cubicBezTo>
                    <a:lnTo>
                      <a:pt x="0" y="3232881"/>
                    </a:lnTo>
                    <a:cubicBezTo>
                      <a:pt x="0" y="3243739"/>
                      <a:pt x="8858" y="3252597"/>
                      <a:pt x="19717" y="3252597"/>
                    </a:cubicBezTo>
                    <a:close/>
                    <a:moveTo>
                      <a:pt x="5382292" y="3609594"/>
                    </a:moveTo>
                    <a:cubicBezTo>
                      <a:pt x="5371338" y="3609594"/>
                      <a:pt x="5362575" y="3618452"/>
                      <a:pt x="5362575" y="3629311"/>
                    </a:cubicBezTo>
                    <a:lnTo>
                      <a:pt x="5362575" y="3806381"/>
                    </a:lnTo>
                    <a:cubicBezTo>
                      <a:pt x="5362575" y="3817334"/>
                      <a:pt x="5371433" y="3826098"/>
                      <a:pt x="5382292" y="3826098"/>
                    </a:cubicBezTo>
                    <a:cubicBezTo>
                      <a:pt x="5393245" y="3826098"/>
                      <a:pt x="5402009" y="3817239"/>
                      <a:pt x="5402009" y="3806381"/>
                    </a:cubicBezTo>
                    <a:lnTo>
                      <a:pt x="5402009" y="3629311"/>
                    </a:lnTo>
                    <a:cubicBezTo>
                      <a:pt x="5402009" y="3618452"/>
                      <a:pt x="5393151" y="3609594"/>
                      <a:pt x="5382292" y="3609594"/>
                    </a:cubicBezTo>
                    <a:close/>
                    <a:moveTo>
                      <a:pt x="2919032" y="19717"/>
                    </a:moveTo>
                    <a:cubicBezTo>
                      <a:pt x="2919032" y="8763"/>
                      <a:pt x="2910173" y="0"/>
                      <a:pt x="2899315" y="0"/>
                    </a:cubicBezTo>
                    <a:lnTo>
                      <a:pt x="2722245" y="0"/>
                    </a:lnTo>
                    <a:cubicBezTo>
                      <a:pt x="2711291" y="0"/>
                      <a:pt x="2702528" y="8858"/>
                      <a:pt x="2702528" y="19717"/>
                    </a:cubicBezTo>
                    <a:cubicBezTo>
                      <a:pt x="2702528" y="30670"/>
                      <a:pt x="2711387" y="39434"/>
                      <a:pt x="2722245" y="39434"/>
                    </a:cubicBezTo>
                    <a:lnTo>
                      <a:pt x="2899315" y="39434"/>
                    </a:lnTo>
                    <a:cubicBezTo>
                      <a:pt x="2910173" y="39434"/>
                      <a:pt x="2919032" y="30670"/>
                      <a:pt x="2919032" y="19717"/>
                    </a:cubicBezTo>
                    <a:close/>
                    <a:moveTo>
                      <a:pt x="5382292" y="3963829"/>
                    </a:moveTo>
                    <a:cubicBezTo>
                      <a:pt x="5371338" y="3963829"/>
                      <a:pt x="5362575" y="3972687"/>
                      <a:pt x="5362575" y="3983546"/>
                    </a:cubicBezTo>
                    <a:lnTo>
                      <a:pt x="5362575" y="4160711"/>
                    </a:lnTo>
                    <a:cubicBezTo>
                      <a:pt x="5362575" y="4171664"/>
                      <a:pt x="5371433" y="4180427"/>
                      <a:pt x="5382292" y="4180427"/>
                    </a:cubicBezTo>
                    <a:cubicBezTo>
                      <a:pt x="5393245" y="4180427"/>
                      <a:pt x="5402009" y="4171569"/>
                      <a:pt x="5402009" y="4160711"/>
                    </a:cubicBezTo>
                    <a:lnTo>
                      <a:pt x="5402009" y="3983546"/>
                    </a:lnTo>
                    <a:cubicBezTo>
                      <a:pt x="5402009" y="3972687"/>
                      <a:pt x="5393151" y="3963829"/>
                      <a:pt x="5382292" y="3963829"/>
                    </a:cubicBezTo>
                    <a:close/>
                    <a:moveTo>
                      <a:pt x="5382292" y="4318064"/>
                    </a:moveTo>
                    <a:cubicBezTo>
                      <a:pt x="5371338" y="4318064"/>
                      <a:pt x="5362575" y="4326922"/>
                      <a:pt x="5362575" y="4337781"/>
                    </a:cubicBezTo>
                    <a:lnTo>
                      <a:pt x="5362575" y="4514945"/>
                    </a:lnTo>
                    <a:cubicBezTo>
                      <a:pt x="5362575" y="4525899"/>
                      <a:pt x="5371433" y="4534662"/>
                      <a:pt x="5382292" y="4534662"/>
                    </a:cubicBezTo>
                    <a:cubicBezTo>
                      <a:pt x="5393245" y="4534662"/>
                      <a:pt x="5402009" y="4525804"/>
                      <a:pt x="5402009" y="4514945"/>
                    </a:cubicBezTo>
                    <a:lnTo>
                      <a:pt x="5402009" y="4337781"/>
                    </a:lnTo>
                    <a:cubicBezTo>
                      <a:pt x="5402009" y="4326922"/>
                      <a:pt x="5393151" y="4318064"/>
                      <a:pt x="5382292" y="4318064"/>
                    </a:cubicBezTo>
                    <a:close/>
                    <a:moveTo>
                      <a:pt x="5382292" y="5026533"/>
                    </a:moveTo>
                    <a:cubicBezTo>
                      <a:pt x="5371338" y="5026533"/>
                      <a:pt x="5362575" y="5035392"/>
                      <a:pt x="5362575" y="5046250"/>
                    </a:cubicBezTo>
                    <a:lnTo>
                      <a:pt x="5362575" y="5202746"/>
                    </a:lnTo>
                    <a:cubicBezTo>
                      <a:pt x="5362575" y="5209413"/>
                      <a:pt x="5362480" y="5216081"/>
                      <a:pt x="5362194" y="5222748"/>
                    </a:cubicBezTo>
                    <a:cubicBezTo>
                      <a:pt x="5361813" y="5233607"/>
                      <a:pt x="5370290" y="5242846"/>
                      <a:pt x="5381244" y="5243227"/>
                    </a:cubicBezTo>
                    <a:cubicBezTo>
                      <a:pt x="5381435" y="5243227"/>
                      <a:pt x="5381721" y="5243227"/>
                      <a:pt x="5381911" y="5243227"/>
                    </a:cubicBezTo>
                    <a:cubicBezTo>
                      <a:pt x="5392484" y="5243227"/>
                      <a:pt x="5401247" y="5234845"/>
                      <a:pt x="5401628" y="5224177"/>
                    </a:cubicBezTo>
                    <a:cubicBezTo>
                      <a:pt x="5401914" y="5217129"/>
                      <a:pt x="5402009" y="5209985"/>
                      <a:pt x="5402009" y="5202841"/>
                    </a:cubicBezTo>
                    <a:lnTo>
                      <a:pt x="5402009" y="5046346"/>
                    </a:lnTo>
                    <a:cubicBezTo>
                      <a:pt x="5402009" y="5035392"/>
                      <a:pt x="5393151" y="5026533"/>
                      <a:pt x="5382292" y="5026533"/>
                    </a:cubicBezTo>
                    <a:close/>
                    <a:moveTo>
                      <a:pt x="5382292" y="4672299"/>
                    </a:moveTo>
                    <a:cubicBezTo>
                      <a:pt x="5371338" y="4672299"/>
                      <a:pt x="5362575" y="4681157"/>
                      <a:pt x="5362575" y="4692015"/>
                    </a:cubicBezTo>
                    <a:lnTo>
                      <a:pt x="5362575" y="4869085"/>
                    </a:lnTo>
                    <a:cubicBezTo>
                      <a:pt x="5362575" y="4880039"/>
                      <a:pt x="5371433" y="4888802"/>
                      <a:pt x="5382292" y="4888802"/>
                    </a:cubicBezTo>
                    <a:cubicBezTo>
                      <a:pt x="5393245" y="4888802"/>
                      <a:pt x="5402009" y="4879943"/>
                      <a:pt x="5402009" y="4869085"/>
                    </a:cubicBezTo>
                    <a:lnTo>
                      <a:pt x="5402009" y="4692015"/>
                    </a:lnTo>
                    <a:cubicBezTo>
                      <a:pt x="5402009" y="4681157"/>
                      <a:pt x="5393151" y="4672299"/>
                      <a:pt x="5382292" y="4672299"/>
                    </a:cubicBezTo>
                    <a:close/>
                    <a:moveTo>
                      <a:pt x="5382292" y="2901125"/>
                    </a:moveTo>
                    <a:cubicBezTo>
                      <a:pt x="5371338" y="2901125"/>
                      <a:pt x="5362575" y="2909983"/>
                      <a:pt x="5362575" y="2920841"/>
                    </a:cubicBezTo>
                    <a:lnTo>
                      <a:pt x="5362575" y="3097911"/>
                    </a:lnTo>
                    <a:cubicBezTo>
                      <a:pt x="5362575" y="3108865"/>
                      <a:pt x="5371433" y="3117628"/>
                      <a:pt x="5382292" y="3117628"/>
                    </a:cubicBezTo>
                    <a:cubicBezTo>
                      <a:pt x="5393245" y="3117628"/>
                      <a:pt x="5402009" y="3108769"/>
                      <a:pt x="5402009" y="3097911"/>
                    </a:cubicBezTo>
                    <a:lnTo>
                      <a:pt x="5402009" y="2920841"/>
                    </a:lnTo>
                    <a:cubicBezTo>
                      <a:pt x="5402009" y="2909983"/>
                      <a:pt x="5393151" y="2901125"/>
                      <a:pt x="5382292" y="2901125"/>
                    </a:cubicBezTo>
                    <a:close/>
                    <a:moveTo>
                      <a:pt x="5382292" y="2546890"/>
                    </a:moveTo>
                    <a:cubicBezTo>
                      <a:pt x="5371338" y="2546890"/>
                      <a:pt x="5362575" y="2555748"/>
                      <a:pt x="5362575" y="2566607"/>
                    </a:cubicBezTo>
                    <a:lnTo>
                      <a:pt x="5362575" y="2743772"/>
                    </a:lnTo>
                    <a:cubicBezTo>
                      <a:pt x="5362575" y="2754725"/>
                      <a:pt x="5371433" y="2763488"/>
                      <a:pt x="5382292" y="2763488"/>
                    </a:cubicBezTo>
                    <a:cubicBezTo>
                      <a:pt x="5393245" y="2763488"/>
                      <a:pt x="5402009" y="2754630"/>
                      <a:pt x="5402009" y="2743772"/>
                    </a:cubicBezTo>
                    <a:lnTo>
                      <a:pt x="5402009" y="2566607"/>
                    </a:lnTo>
                    <a:cubicBezTo>
                      <a:pt x="5402009" y="2555748"/>
                      <a:pt x="5393151" y="2546890"/>
                      <a:pt x="5382292" y="2546890"/>
                    </a:cubicBezTo>
                    <a:close/>
                    <a:moveTo>
                      <a:pt x="5382292" y="1129951"/>
                    </a:moveTo>
                    <a:cubicBezTo>
                      <a:pt x="5371338" y="1129951"/>
                      <a:pt x="5362575" y="1138809"/>
                      <a:pt x="5362575" y="1149668"/>
                    </a:cubicBezTo>
                    <a:lnTo>
                      <a:pt x="5362575" y="1326833"/>
                    </a:lnTo>
                    <a:cubicBezTo>
                      <a:pt x="5362575" y="1337786"/>
                      <a:pt x="5371433" y="1346549"/>
                      <a:pt x="5382292" y="1346549"/>
                    </a:cubicBezTo>
                    <a:cubicBezTo>
                      <a:pt x="5393245" y="1346549"/>
                      <a:pt x="5402009" y="1337691"/>
                      <a:pt x="5402009" y="1326833"/>
                    </a:cubicBezTo>
                    <a:lnTo>
                      <a:pt x="5402009" y="1149668"/>
                    </a:lnTo>
                    <a:cubicBezTo>
                      <a:pt x="5402009" y="1138809"/>
                      <a:pt x="5393151" y="1129951"/>
                      <a:pt x="5382292" y="1129951"/>
                    </a:cubicBezTo>
                    <a:close/>
                    <a:moveTo>
                      <a:pt x="5382292" y="775716"/>
                    </a:moveTo>
                    <a:cubicBezTo>
                      <a:pt x="5371338" y="775716"/>
                      <a:pt x="5362575" y="784574"/>
                      <a:pt x="5362575" y="795433"/>
                    </a:cubicBezTo>
                    <a:lnTo>
                      <a:pt x="5362575" y="972503"/>
                    </a:lnTo>
                    <a:cubicBezTo>
                      <a:pt x="5362575" y="983456"/>
                      <a:pt x="5371433" y="992219"/>
                      <a:pt x="5382292" y="992219"/>
                    </a:cubicBezTo>
                    <a:cubicBezTo>
                      <a:pt x="5393245" y="992219"/>
                      <a:pt x="5402009" y="983361"/>
                      <a:pt x="5402009" y="972503"/>
                    </a:cubicBezTo>
                    <a:lnTo>
                      <a:pt x="5402009" y="795528"/>
                    </a:lnTo>
                    <a:cubicBezTo>
                      <a:pt x="5402009" y="784574"/>
                      <a:pt x="5393151" y="775716"/>
                      <a:pt x="5382292" y="775716"/>
                    </a:cubicBezTo>
                    <a:close/>
                    <a:moveTo>
                      <a:pt x="5380387" y="437960"/>
                    </a:moveTo>
                    <a:cubicBezTo>
                      <a:pt x="5377434" y="427482"/>
                      <a:pt x="5366576" y="421291"/>
                      <a:pt x="5356098" y="424148"/>
                    </a:cubicBezTo>
                    <a:cubicBezTo>
                      <a:pt x="5345620" y="427101"/>
                      <a:pt x="5339430" y="437960"/>
                      <a:pt x="5342287" y="448437"/>
                    </a:cubicBezTo>
                    <a:cubicBezTo>
                      <a:pt x="5355718" y="496824"/>
                      <a:pt x="5362480" y="547116"/>
                      <a:pt x="5362480" y="597789"/>
                    </a:cubicBezTo>
                    <a:lnTo>
                      <a:pt x="5362480" y="618363"/>
                    </a:lnTo>
                    <a:cubicBezTo>
                      <a:pt x="5362480" y="629317"/>
                      <a:pt x="5371338" y="638080"/>
                      <a:pt x="5382197" y="638080"/>
                    </a:cubicBezTo>
                    <a:cubicBezTo>
                      <a:pt x="5393151" y="638080"/>
                      <a:pt x="5401914" y="629222"/>
                      <a:pt x="5401914" y="618363"/>
                    </a:cubicBezTo>
                    <a:lnTo>
                      <a:pt x="5401914" y="597789"/>
                    </a:lnTo>
                    <a:cubicBezTo>
                      <a:pt x="5402009" y="543497"/>
                      <a:pt x="5394770" y="489776"/>
                      <a:pt x="5380387" y="437960"/>
                    </a:cubicBezTo>
                    <a:close/>
                    <a:moveTo>
                      <a:pt x="5382292" y="2192655"/>
                    </a:moveTo>
                    <a:cubicBezTo>
                      <a:pt x="5371338" y="2192655"/>
                      <a:pt x="5362575" y="2201513"/>
                      <a:pt x="5362575" y="2212372"/>
                    </a:cubicBezTo>
                    <a:lnTo>
                      <a:pt x="5362575" y="2389537"/>
                    </a:lnTo>
                    <a:cubicBezTo>
                      <a:pt x="5362575" y="2400491"/>
                      <a:pt x="5371433" y="2409254"/>
                      <a:pt x="5382292" y="2409254"/>
                    </a:cubicBezTo>
                    <a:cubicBezTo>
                      <a:pt x="5393245" y="2409254"/>
                      <a:pt x="5402009" y="2400395"/>
                      <a:pt x="5402009" y="2389537"/>
                    </a:cubicBezTo>
                    <a:lnTo>
                      <a:pt x="5402009" y="2212372"/>
                    </a:lnTo>
                    <a:cubicBezTo>
                      <a:pt x="5402009" y="2201513"/>
                      <a:pt x="5393151" y="2192655"/>
                      <a:pt x="5382292" y="2192655"/>
                    </a:cubicBezTo>
                    <a:close/>
                    <a:moveTo>
                      <a:pt x="5355622" y="5378101"/>
                    </a:moveTo>
                    <a:cubicBezTo>
                      <a:pt x="5345335" y="5374386"/>
                      <a:pt x="5334000" y="5379815"/>
                      <a:pt x="5330381" y="5390102"/>
                    </a:cubicBezTo>
                    <a:cubicBezTo>
                      <a:pt x="5311235" y="5443919"/>
                      <a:pt x="5283994" y="5494306"/>
                      <a:pt x="5249323" y="5539931"/>
                    </a:cubicBezTo>
                    <a:cubicBezTo>
                      <a:pt x="5242751" y="5548599"/>
                      <a:pt x="5244465" y="5560981"/>
                      <a:pt x="5253133" y="5567649"/>
                    </a:cubicBezTo>
                    <a:cubicBezTo>
                      <a:pt x="5256753" y="5570315"/>
                      <a:pt x="5260944" y="5571649"/>
                      <a:pt x="5265039" y="5571649"/>
                    </a:cubicBezTo>
                    <a:cubicBezTo>
                      <a:pt x="5271040" y="5571649"/>
                      <a:pt x="5276946" y="5568982"/>
                      <a:pt x="5280755" y="5563838"/>
                    </a:cubicBezTo>
                    <a:cubicBezTo>
                      <a:pt x="5317808" y="5514975"/>
                      <a:pt x="5347049" y="5460968"/>
                      <a:pt x="5367528" y="5403342"/>
                    </a:cubicBezTo>
                    <a:cubicBezTo>
                      <a:pt x="5371243" y="5393055"/>
                      <a:pt x="5365909" y="5381720"/>
                      <a:pt x="5355622" y="5378101"/>
                    </a:cubicBezTo>
                    <a:close/>
                    <a:moveTo>
                      <a:pt x="5382292" y="1838420"/>
                    </a:moveTo>
                    <a:cubicBezTo>
                      <a:pt x="5371338" y="1838420"/>
                      <a:pt x="5362575" y="1847279"/>
                      <a:pt x="5362575" y="1858137"/>
                    </a:cubicBezTo>
                    <a:lnTo>
                      <a:pt x="5362575" y="2035207"/>
                    </a:lnTo>
                    <a:cubicBezTo>
                      <a:pt x="5362575" y="2046161"/>
                      <a:pt x="5371433" y="2054924"/>
                      <a:pt x="5382292" y="2054924"/>
                    </a:cubicBezTo>
                    <a:cubicBezTo>
                      <a:pt x="5393245" y="2054924"/>
                      <a:pt x="5402009" y="2046065"/>
                      <a:pt x="5402009" y="2035207"/>
                    </a:cubicBezTo>
                    <a:lnTo>
                      <a:pt x="5402009" y="1858137"/>
                    </a:lnTo>
                    <a:cubicBezTo>
                      <a:pt x="5402009" y="1847279"/>
                      <a:pt x="5393151" y="1838420"/>
                      <a:pt x="5382292" y="1838420"/>
                    </a:cubicBezTo>
                    <a:close/>
                    <a:moveTo>
                      <a:pt x="5382292" y="1484186"/>
                    </a:moveTo>
                    <a:cubicBezTo>
                      <a:pt x="5371338" y="1484186"/>
                      <a:pt x="5362575" y="1493044"/>
                      <a:pt x="5362575" y="1503902"/>
                    </a:cubicBezTo>
                    <a:lnTo>
                      <a:pt x="5362575" y="1681067"/>
                    </a:lnTo>
                    <a:cubicBezTo>
                      <a:pt x="5362575" y="1692021"/>
                      <a:pt x="5371433" y="1700784"/>
                      <a:pt x="5382292" y="1700784"/>
                    </a:cubicBezTo>
                    <a:cubicBezTo>
                      <a:pt x="5393245" y="1700784"/>
                      <a:pt x="5402009" y="1691926"/>
                      <a:pt x="5402009" y="1681067"/>
                    </a:cubicBezTo>
                    <a:lnTo>
                      <a:pt x="5402009" y="1503902"/>
                    </a:lnTo>
                    <a:cubicBezTo>
                      <a:pt x="5402009" y="1493044"/>
                      <a:pt x="5393151" y="1484186"/>
                      <a:pt x="5382292" y="1484186"/>
                    </a:cubicBezTo>
                    <a:close/>
                    <a:moveTo>
                      <a:pt x="5382292" y="3255359"/>
                    </a:moveTo>
                    <a:cubicBezTo>
                      <a:pt x="5371338" y="3255359"/>
                      <a:pt x="5362575" y="3264218"/>
                      <a:pt x="5362575" y="3275076"/>
                    </a:cubicBezTo>
                    <a:lnTo>
                      <a:pt x="5362575" y="3452241"/>
                    </a:lnTo>
                    <a:cubicBezTo>
                      <a:pt x="5362575" y="3463195"/>
                      <a:pt x="5371433" y="3471958"/>
                      <a:pt x="5382292" y="3471958"/>
                    </a:cubicBezTo>
                    <a:cubicBezTo>
                      <a:pt x="5393245" y="3471958"/>
                      <a:pt x="5402009" y="3463100"/>
                      <a:pt x="5402009" y="3452241"/>
                    </a:cubicBezTo>
                    <a:lnTo>
                      <a:pt x="5402009" y="3275076"/>
                    </a:lnTo>
                    <a:cubicBezTo>
                      <a:pt x="5402009" y="3264218"/>
                      <a:pt x="5393151" y="3255359"/>
                      <a:pt x="5382292" y="3255359"/>
                    </a:cubicBezTo>
                    <a:close/>
                    <a:moveTo>
                      <a:pt x="5288756" y="302228"/>
                    </a:moveTo>
                    <a:cubicBezTo>
                      <a:pt x="5292471" y="302228"/>
                      <a:pt x="5296186" y="301181"/>
                      <a:pt x="5299520" y="298990"/>
                    </a:cubicBezTo>
                    <a:cubicBezTo>
                      <a:pt x="5308664" y="292989"/>
                      <a:pt x="5311235" y="280797"/>
                      <a:pt x="5305235" y="271653"/>
                    </a:cubicBezTo>
                    <a:cubicBezTo>
                      <a:pt x="5271802" y="220409"/>
                      <a:pt x="5230844" y="174689"/>
                      <a:pt x="5183505" y="135827"/>
                    </a:cubicBezTo>
                    <a:cubicBezTo>
                      <a:pt x="5175123" y="128873"/>
                      <a:pt x="5162646" y="130111"/>
                      <a:pt x="5155693" y="138589"/>
                    </a:cubicBezTo>
                    <a:cubicBezTo>
                      <a:pt x="5148739" y="146971"/>
                      <a:pt x="5149977" y="159449"/>
                      <a:pt x="5158455" y="166402"/>
                    </a:cubicBezTo>
                    <a:cubicBezTo>
                      <a:pt x="5202651" y="202787"/>
                      <a:pt x="5240941" y="245459"/>
                      <a:pt x="5272088" y="293370"/>
                    </a:cubicBezTo>
                    <a:cubicBezTo>
                      <a:pt x="5275993" y="299085"/>
                      <a:pt x="5282280" y="302228"/>
                      <a:pt x="5288756" y="302228"/>
                    </a:cubicBezTo>
                    <a:close/>
                    <a:moveTo>
                      <a:pt x="3627501" y="19717"/>
                    </a:moveTo>
                    <a:cubicBezTo>
                      <a:pt x="3627501" y="8763"/>
                      <a:pt x="3618643" y="0"/>
                      <a:pt x="3607784" y="0"/>
                    </a:cubicBezTo>
                    <a:lnTo>
                      <a:pt x="3430715" y="0"/>
                    </a:lnTo>
                    <a:cubicBezTo>
                      <a:pt x="3419761" y="0"/>
                      <a:pt x="3410998" y="8858"/>
                      <a:pt x="3410998" y="19717"/>
                    </a:cubicBezTo>
                    <a:cubicBezTo>
                      <a:pt x="3410998" y="30670"/>
                      <a:pt x="3419856" y="39434"/>
                      <a:pt x="3430715" y="39434"/>
                    </a:cubicBezTo>
                    <a:lnTo>
                      <a:pt x="3607784" y="39434"/>
                    </a:lnTo>
                    <a:cubicBezTo>
                      <a:pt x="3618643" y="39434"/>
                      <a:pt x="3627501" y="30670"/>
                      <a:pt x="3627501" y="19717"/>
                    </a:cubicBezTo>
                    <a:close/>
                    <a:moveTo>
                      <a:pt x="3981736" y="19717"/>
                    </a:moveTo>
                    <a:cubicBezTo>
                      <a:pt x="3981736" y="8763"/>
                      <a:pt x="3972878" y="0"/>
                      <a:pt x="3962019" y="0"/>
                    </a:cubicBezTo>
                    <a:lnTo>
                      <a:pt x="3784854" y="0"/>
                    </a:lnTo>
                    <a:cubicBezTo>
                      <a:pt x="3773900" y="0"/>
                      <a:pt x="3765137" y="8858"/>
                      <a:pt x="3765137" y="19717"/>
                    </a:cubicBezTo>
                    <a:cubicBezTo>
                      <a:pt x="3765137" y="30670"/>
                      <a:pt x="3773996" y="39434"/>
                      <a:pt x="3784854" y="39434"/>
                    </a:cubicBezTo>
                    <a:lnTo>
                      <a:pt x="3962019" y="39434"/>
                    </a:lnTo>
                    <a:cubicBezTo>
                      <a:pt x="3972878" y="39434"/>
                      <a:pt x="3981736" y="30670"/>
                      <a:pt x="3981736" y="19717"/>
                    </a:cubicBezTo>
                    <a:close/>
                    <a:moveTo>
                      <a:pt x="3741420" y="5761101"/>
                    </a:moveTo>
                    <a:lnTo>
                      <a:pt x="3564255" y="5761101"/>
                    </a:lnTo>
                    <a:cubicBezTo>
                      <a:pt x="3553301" y="5761101"/>
                      <a:pt x="3544538" y="5769959"/>
                      <a:pt x="3544538" y="5780818"/>
                    </a:cubicBezTo>
                    <a:cubicBezTo>
                      <a:pt x="3544538" y="5791772"/>
                      <a:pt x="3553397" y="5800535"/>
                      <a:pt x="3564255" y="5800535"/>
                    </a:cubicBezTo>
                    <a:lnTo>
                      <a:pt x="3741420" y="5800535"/>
                    </a:lnTo>
                    <a:cubicBezTo>
                      <a:pt x="3752374" y="5800535"/>
                      <a:pt x="3761137" y="5791677"/>
                      <a:pt x="3761137" y="5780818"/>
                    </a:cubicBezTo>
                    <a:cubicBezTo>
                      <a:pt x="3761232" y="5769959"/>
                      <a:pt x="3752374" y="5761101"/>
                      <a:pt x="3741420" y="5761101"/>
                    </a:cubicBezTo>
                    <a:close/>
                    <a:moveTo>
                      <a:pt x="3032951" y="5761101"/>
                    </a:moveTo>
                    <a:lnTo>
                      <a:pt x="2855881" y="5761101"/>
                    </a:lnTo>
                    <a:cubicBezTo>
                      <a:pt x="2844927" y="5761101"/>
                      <a:pt x="2836164" y="5769959"/>
                      <a:pt x="2836164" y="5780818"/>
                    </a:cubicBezTo>
                    <a:cubicBezTo>
                      <a:pt x="2836164" y="5791772"/>
                      <a:pt x="2845022" y="5800535"/>
                      <a:pt x="2855881" y="5800535"/>
                    </a:cubicBezTo>
                    <a:lnTo>
                      <a:pt x="3032951" y="5800535"/>
                    </a:lnTo>
                    <a:cubicBezTo>
                      <a:pt x="3043904" y="5800535"/>
                      <a:pt x="3052667" y="5791677"/>
                      <a:pt x="3052667" y="5780818"/>
                    </a:cubicBezTo>
                    <a:cubicBezTo>
                      <a:pt x="3052763" y="5769959"/>
                      <a:pt x="3043904" y="5761101"/>
                      <a:pt x="3032951" y="5761101"/>
                    </a:cubicBezTo>
                    <a:close/>
                    <a:moveTo>
                      <a:pt x="3387185" y="5761101"/>
                    </a:moveTo>
                    <a:lnTo>
                      <a:pt x="3210116" y="5761101"/>
                    </a:lnTo>
                    <a:cubicBezTo>
                      <a:pt x="3199162" y="5761101"/>
                      <a:pt x="3190399" y="5769959"/>
                      <a:pt x="3190399" y="5780818"/>
                    </a:cubicBezTo>
                    <a:cubicBezTo>
                      <a:pt x="3190399" y="5791772"/>
                      <a:pt x="3199257" y="5800535"/>
                      <a:pt x="3210116" y="5800535"/>
                    </a:cubicBezTo>
                    <a:lnTo>
                      <a:pt x="3387185" y="5800535"/>
                    </a:lnTo>
                    <a:cubicBezTo>
                      <a:pt x="3398139" y="5800535"/>
                      <a:pt x="3406902" y="5791677"/>
                      <a:pt x="3406902" y="5780818"/>
                    </a:cubicBezTo>
                    <a:cubicBezTo>
                      <a:pt x="3406997" y="5769959"/>
                      <a:pt x="3398139" y="5761101"/>
                      <a:pt x="3387185" y="5761101"/>
                    </a:cubicBezTo>
                    <a:close/>
                    <a:moveTo>
                      <a:pt x="3273266" y="19717"/>
                    </a:moveTo>
                    <a:cubicBezTo>
                      <a:pt x="3273266" y="8763"/>
                      <a:pt x="3264408" y="0"/>
                      <a:pt x="3253549" y="0"/>
                    </a:cubicBezTo>
                    <a:lnTo>
                      <a:pt x="3076480" y="0"/>
                    </a:lnTo>
                    <a:cubicBezTo>
                      <a:pt x="3065526" y="0"/>
                      <a:pt x="3056763" y="8858"/>
                      <a:pt x="3056763" y="19717"/>
                    </a:cubicBezTo>
                    <a:cubicBezTo>
                      <a:pt x="3056763" y="30670"/>
                      <a:pt x="3065621" y="39434"/>
                      <a:pt x="3076480" y="39434"/>
                    </a:cubicBezTo>
                    <a:lnTo>
                      <a:pt x="3253549" y="39434"/>
                    </a:lnTo>
                    <a:cubicBezTo>
                      <a:pt x="3264408" y="39434"/>
                      <a:pt x="3273266" y="30670"/>
                      <a:pt x="3273266" y="19717"/>
                    </a:cubicBezTo>
                    <a:close/>
                    <a:moveTo>
                      <a:pt x="4095655" y="5761101"/>
                    </a:moveTo>
                    <a:lnTo>
                      <a:pt x="3918490" y="5761101"/>
                    </a:lnTo>
                    <a:cubicBezTo>
                      <a:pt x="3907536" y="5761101"/>
                      <a:pt x="3898773" y="5769959"/>
                      <a:pt x="3898773" y="5780818"/>
                    </a:cubicBezTo>
                    <a:cubicBezTo>
                      <a:pt x="3898773" y="5791772"/>
                      <a:pt x="3907631" y="5800535"/>
                      <a:pt x="3918490" y="5800535"/>
                    </a:cubicBezTo>
                    <a:lnTo>
                      <a:pt x="4095655" y="5800535"/>
                    </a:lnTo>
                    <a:cubicBezTo>
                      <a:pt x="4106609" y="5800535"/>
                      <a:pt x="4115372" y="5791677"/>
                      <a:pt x="4115372" y="5780818"/>
                    </a:cubicBezTo>
                    <a:cubicBezTo>
                      <a:pt x="4115467" y="5769959"/>
                      <a:pt x="4106609" y="5761101"/>
                      <a:pt x="4095655" y="5761101"/>
                    </a:cubicBezTo>
                    <a:close/>
                    <a:moveTo>
                      <a:pt x="5019389" y="80867"/>
                    </a:moveTo>
                    <a:cubicBezTo>
                      <a:pt x="5027200" y="80867"/>
                      <a:pt x="5034630" y="76200"/>
                      <a:pt x="5037773" y="68485"/>
                    </a:cubicBezTo>
                    <a:cubicBezTo>
                      <a:pt x="5041869" y="58388"/>
                      <a:pt x="5036915" y="46863"/>
                      <a:pt x="5026819" y="42767"/>
                    </a:cubicBezTo>
                    <a:cubicBezTo>
                      <a:pt x="4970050" y="20003"/>
                      <a:pt x="4910328" y="6191"/>
                      <a:pt x="4849082" y="1619"/>
                    </a:cubicBezTo>
                    <a:cubicBezTo>
                      <a:pt x="4838224" y="857"/>
                      <a:pt x="4828699" y="8954"/>
                      <a:pt x="4827937" y="19907"/>
                    </a:cubicBezTo>
                    <a:cubicBezTo>
                      <a:pt x="4827175" y="30766"/>
                      <a:pt x="4835271" y="40291"/>
                      <a:pt x="4846225" y="41053"/>
                    </a:cubicBezTo>
                    <a:cubicBezTo>
                      <a:pt x="4903375" y="45244"/>
                      <a:pt x="4959192" y="58198"/>
                      <a:pt x="5012151" y="79439"/>
                    </a:cubicBezTo>
                    <a:cubicBezTo>
                      <a:pt x="5014437" y="80391"/>
                      <a:pt x="5016913" y="80867"/>
                      <a:pt x="5019389" y="80867"/>
                    </a:cubicBezTo>
                    <a:close/>
                    <a:moveTo>
                      <a:pt x="4806410" y="5761101"/>
                    </a:moveTo>
                    <a:lnTo>
                      <a:pt x="4627055" y="5761101"/>
                    </a:lnTo>
                    <a:cubicBezTo>
                      <a:pt x="4616101" y="5761101"/>
                      <a:pt x="4607338" y="5769959"/>
                      <a:pt x="4607338" y="5780818"/>
                    </a:cubicBezTo>
                    <a:cubicBezTo>
                      <a:pt x="4607338" y="5791772"/>
                      <a:pt x="4616196" y="5800535"/>
                      <a:pt x="4627055" y="5800535"/>
                    </a:cubicBezTo>
                    <a:lnTo>
                      <a:pt x="4804410" y="5800535"/>
                    </a:lnTo>
                    <a:lnTo>
                      <a:pt x="4806315" y="5800535"/>
                    </a:lnTo>
                    <a:cubicBezTo>
                      <a:pt x="4817269" y="5800535"/>
                      <a:pt x="4826032" y="5791677"/>
                      <a:pt x="4826032" y="5780818"/>
                    </a:cubicBezTo>
                    <a:cubicBezTo>
                      <a:pt x="4826127" y="5769959"/>
                      <a:pt x="4817269" y="5761101"/>
                      <a:pt x="4806410" y="5761101"/>
                    </a:cubicBezTo>
                    <a:close/>
                    <a:moveTo>
                      <a:pt x="4335971" y="19717"/>
                    </a:moveTo>
                    <a:cubicBezTo>
                      <a:pt x="4335971" y="8763"/>
                      <a:pt x="4327113" y="0"/>
                      <a:pt x="4316254" y="0"/>
                    </a:cubicBezTo>
                    <a:lnTo>
                      <a:pt x="4139184" y="0"/>
                    </a:lnTo>
                    <a:cubicBezTo>
                      <a:pt x="4128230" y="0"/>
                      <a:pt x="4119467" y="8858"/>
                      <a:pt x="4119467" y="19717"/>
                    </a:cubicBezTo>
                    <a:cubicBezTo>
                      <a:pt x="4119467" y="30670"/>
                      <a:pt x="4128326" y="39434"/>
                      <a:pt x="4139184" y="39434"/>
                    </a:cubicBezTo>
                    <a:lnTo>
                      <a:pt x="4316254" y="39434"/>
                    </a:lnTo>
                    <a:cubicBezTo>
                      <a:pt x="4327113" y="39434"/>
                      <a:pt x="4335971" y="30670"/>
                      <a:pt x="4335971" y="19717"/>
                    </a:cubicBezTo>
                    <a:close/>
                    <a:moveTo>
                      <a:pt x="5126927" y="5658422"/>
                    </a:moveTo>
                    <a:cubicBezTo>
                      <a:pt x="5080159" y="5691569"/>
                      <a:pt x="5028914" y="5717191"/>
                      <a:pt x="4974622" y="5734622"/>
                    </a:cubicBezTo>
                    <a:cubicBezTo>
                      <a:pt x="4964240" y="5737956"/>
                      <a:pt x="4958525" y="5749100"/>
                      <a:pt x="4961858" y="5759482"/>
                    </a:cubicBezTo>
                    <a:cubicBezTo>
                      <a:pt x="4964526" y="5767864"/>
                      <a:pt x="4972336" y="5773198"/>
                      <a:pt x="4980718" y="5773198"/>
                    </a:cubicBezTo>
                    <a:cubicBezTo>
                      <a:pt x="4982718" y="5773198"/>
                      <a:pt x="4984719" y="5772912"/>
                      <a:pt x="4986719" y="5772245"/>
                    </a:cubicBezTo>
                    <a:cubicBezTo>
                      <a:pt x="5044917" y="5753577"/>
                      <a:pt x="5099876" y="5726145"/>
                      <a:pt x="5149882" y="5690616"/>
                    </a:cubicBezTo>
                    <a:cubicBezTo>
                      <a:pt x="5158740" y="5684330"/>
                      <a:pt x="5160931" y="5671947"/>
                      <a:pt x="5154549" y="5663089"/>
                    </a:cubicBezTo>
                    <a:cubicBezTo>
                      <a:pt x="5148167" y="5654231"/>
                      <a:pt x="5135785" y="5652135"/>
                      <a:pt x="5126927" y="5658422"/>
                    </a:cubicBezTo>
                    <a:close/>
                    <a:moveTo>
                      <a:pt x="4690206" y="19717"/>
                    </a:moveTo>
                    <a:cubicBezTo>
                      <a:pt x="4690206" y="8763"/>
                      <a:pt x="4681347" y="0"/>
                      <a:pt x="4670489" y="0"/>
                    </a:cubicBezTo>
                    <a:lnTo>
                      <a:pt x="4493419" y="0"/>
                    </a:lnTo>
                    <a:cubicBezTo>
                      <a:pt x="4482465" y="0"/>
                      <a:pt x="4473702" y="8858"/>
                      <a:pt x="4473702" y="19717"/>
                    </a:cubicBezTo>
                    <a:cubicBezTo>
                      <a:pt x="4473702" y="30670"/>
                      <a:pt x="4482560" y="39434"/>
                      <a:pt x="4493419" y="39434"/>
                    </a:cubicBezTo>
                    <a:lnTo>
                      <a:pt x="4670489" y="39434"/>
                    </a:lnTo>
                    <a:cubicBezTo>
                      <a:pt x="4681347" y="39434"/>
                      <a:pt x="4690206" y="30670"/>
                      <a:pt x="4690206" y="19717"/>
                    </a:cubicBezTo>
                    <a:close/>
                    <a:moveTo>
                      <a:pt x="4449890" y="5761101"/>
                    </a:moveTo>
                    <a:lnTo>
                      <a:pt x="4272820" y="5761101"/>
                    </a:lnTo>
                    <a:cubicBezTo>
                      <a:pt x="4261866" y="5761101"/>
                      <a:pt x="4253103" y="5769959"/>
                      <a:pt x="4253103" y="5780818"/>
                    </a:cubicBezTo>
                    <a:cubicBezTo>
                      <a:pt x="4253103" y="5791772"/>
                      <a:pt x="4261962" y="5800535"/>
                      <a:pt x="4272820" y="5800535"/>
                    </a:cubicBezTo>
                    <a:lnTo>
                      <a:pt x="4449890" y="5800535"/>
                    </a:lnTo>
                    <a:cubicBezTo>
                      <a:pt x="4460843" y="5800535"/>
                      <a:pt x="4469606" y="5791677"/>
                      <a:pt x="4469606" y="5780818"/>
                    </a:cubicBezTo>
                    <a:cubicBezTo>
                      <a:pt x="4469702" y="5769959"/>
                      <a:pt x="4460843" y="5761101"/>
                      <a:pt x="4449890" y="5761101"/>
                    </a:cubicBez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446"/>
                <a:endParaRPr lang="en-GB">
                  <a:solidFill>
                    <a:srgbClr val="000000"/>
                  </a:solidFill>
                  <a:latin typeface="Novo Apply Sans"/>
                </a:endParaRPr>
              </a:p>
            </p:txBody>
          </p:sp>
          <p:grpSp>
            <p:nvGrpSpPr>
              <p:cNvPr id="9" name="Graphic 383">
                <a:extLst>
                  <a:ext uri="{FF2B5EF4-FFF2-40B4-BE49-F238E27FC236}">
                    <a16:creationId xmlns:a16="http://schemas.microsoft.com/office/drawing/2014/main" id="{D3900C42-F0FC-4D02-AA60-C72A3972DB28}"/>
                  </a:ext>
                </a:extLst>
              </p:cNvPr>
              <p:cNvGrpSpPr/>
              <p:nvPr/>
            </p:nvGrpSpPr>
            <p:grpSpPr>
              <a:xfrm>
                <a:off x="1670908" y="4343400"/>
                <a:ext cx="665705" cy="1692866"/>
                <a:chOff x="9961530" y="2185987"/>
                <a:chExt cx="2327719" cy="5919311"/>
              </a:xfrm>
              <a:solidFill>
                <a:srgbClr val="FBB03B"/>
              </a:solidFill>
            </p:grpSpPr>
            <p:sp>
              <p:nvSpPr>
                <p:cNvPr id="10" name="Freeform: Shape 9">
                  <a:extLst>
                    <a:ext uri="{FF2B5EF4-FFF2-40B4-BE49-F238E27FC236}">
                      <a16:creationId xmlns:a16="http://schemas.microsoft.com/office/drawing/2014/main" id="{7038983A-6DF9-4D96-8366-4FAB7E17EA11}"/>
                    </a:ext>
                  </a:extLst>
                </p:cNvPr>
                <p:cNvSpPr/>
                <p:nvPr/>
              </p:nvSpPr>
              <p:spPr>
                <a:xfrm>
                  <a:off x="9961530" y="2185987"/>
                  <a:ext cx="1500473" cy="5919311"/>
                </a:xfrm>
                <a:custGeom>
                  <a:avLst/>
                  <a:gdLst>
                    <a:gd name="connsiteX0" fmla="*/ 843344 w 1500473"/>
                    <a:gd name="connsiteY0" fmla="*/ 5919312 h 5919311"/>
                    <a:gd name="connsiteX1" fmla="*/ 0 w 1500473"/>
                    <a:gd name="connsiteY1" fmla="*/ 5919312 h 5919311"/>
                    <a:gd name="connsiteX2" fmla="*/ 0 w 1500473"/>
                    <a:gd name="connsiteY2" fmla="*/ 5761196 h 5919311"/>
                    <a:gd name="connsiteX3" fmla="*/ 843344 w 1500473"/>
                    <a:gd name="connsiteY3" fmla="*/ 5761196 h 5919311"/>
                    <a:gd name="connsiteX4" fmla="*/ 1342359 w 1500473"/>
                    <a:gd name="connsiteY4" fmla="*/ 5262182 h 5919311"/>
                    <a:gd name="connsiteX5" fmla="*/ 1342359 w 1500473"/>
                    <a:gd name="connsiteY5" fmla="*/ 657130 h 5919311"/>
                    <a:gd name="connsiteX6" fmla="*/ 843344 w 1500473"/>
                    <a:gd name="connsiteY6" fmla="*/ 158020 h 5919311"/>
                    <a:gd name="connsiteX7" fmla="*/ 3239 w 1500473"/>
                    <a:gd name="connsiteY7" fmla="*/ 158020 h 5919311"/>
                    <a:gd name="connsiteX8" fmla="*/ 3239 w 1500473"/>
                    <a:gd name="connsiteY8" fmla="*/ 0 h 5919311"/>
                    <a:gd name="connsiteX9" fmla="*/ 843344 w 1500473"/>
                    <a:gd name="connsiteY9" fmla="*/ 0 h 5919311"/>
                    <a:gd name="connsiteX10" fmla="*/ 1500473 w 1500473"/>
                    <a:gd name="connsiteY10" fmla="*/ 657130 h 5919311"/>
                    <a:gd name="connsiteX11" fmla="*/ 1500473 w 1500473"/>
                    <a:gd name="connsiteY11" fmla="*/ 5262087 h 5919311"/>
                    <a:gd name="connsiteX12" fmla="*/ 843344 w 1500473"/>
                    <a:gd name="connsiteY12" fmla="*/ 5919312 h 59193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500473" h="5919311">
                      <a:moveTo>
                        <a:pt x="843344" y="5919312"/>
                      </a:moveTo>
                      <a:lnTo>
                        <a:pt x="0" y="5919312"/>
                      </a:lnTo>
                      <a:lnTo>
                        <a:pt x="0" y="5761196"/>
                      </a:lnTo>
                      <a:lnTo>
                        <a:pt x="843344" y="5761196"/>
                      </a:lnTo>
                      <a:cubicBezTo>
                        <a:pt x="1118521" y="5761196"/>
                        <a:pt x="1342359" y="5537359"/>
                        <a:pt x="1342359" y="5262182"/>
                      </a:cubicBezTo>
                      <a:lnTo>
                        <a:pt x="1342359" y="657130"/>
                      </a:lnTo>
                      <a:cubicBezTo>
                        <a:pt x="1342359" y="381953"/>
                        <a:pt x="1118521" y="158020"/>
                        <a:pt x="843344" y="158020"/>
                      </a:cubicBezTo>
                      <a:lnTo>
                        <a:pt x="3239" y="158020"/>
                      </a:lnTo>
                      <a:lnTo>
                        <a:pt x="3239" y="0"/>
                      </a:lnTo>
                      <a:lnTo>
                        <a:pt x="843344" y="0"/>
                      </a:lnTo>
                      <a:cubicBezTo>
                        <a:pt x="1205674" y="0"/>
                        <a:pt x="1500473" y="294799"/>
                        <a:pt x="1500473" y="657130"/>
                      </a:cubicBezTo>
                      <a:lnTo>
                        <a:pt x="1500473" y="5262087"/>
                      </a:lnTo>
                      <a:cubicBezTo>
                        <a:pt x="1500569" y="5624513"/>
                        <a:pt x="1205770" y="5919312"/>
                        <a:pt x="843344" y="5919312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914446"/>
                  <a:endParaRPr lang="en-GB">
                    <a:solidFill>
                      <a:srgbClr val="000000"/>
                    </a:solidFill>
                    <a:latin typeface="Novo Apply Sans"/>
                  </a:endParaRPr>
                </a:p>
              </p:txBody>
            </p:sp>
            <p:sp>
              <p:nvSpPr>
                <p:cNvPr id="11" name="Freeform: Shape 10">
                  <a:extLst>
                    <a:ext uri="{FF2B5EF4-FFF2-40B4-BE49-F238E27FC236}">
                      <a16:creationId xmlns:a16="http://schemas.microsoft.com/office/drawing/2014/main" id="{CF8FC2E5-78C4-4E6D-B45F-24B6E246C2EF}"/>
                    </a:ext>
                  </a:extLst>
                </p:cNvPr>
                <p:cNvSpPr/>
                <p:nvPr/>
              </p:nvSpPr>
              <p:spPr>
                <a:xfrm>
                  <a:off x="11775852" y="4835842"/>
                  <a:ext cx="513397" cy="621315"/>
                </a:xfrm>
                <a:custGeom>
                  <a:avLst/>
                  <a:gdLst>
                    <a:gd name="connsiteX0" fmla="*/ 513398 w 513397"/>
                    <a:gd name="connsiteY0" fmla="*/ 310610 h 621315"/>
                    <a:gd name="connsiteX1" fmla="*/ 0 w 513397"/>
                    <a:gd name="connsiteY1" fmla="*/ 0 h 621315"/>
                    <a:gd name="connsiteX2" fmla="*/ 0 w 513397"/>
                    <a:gd name="connsiteY2" fmla="*/ 621316 h 6213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13397" h="621315">
                      <a:moveTo>
                        <a:pt x="513398" y="310610"/>
                      </a:moveTo>
                      <a:lnTo>
                        <a:pt x="0" y="0"/>
                      </a:lnTo>
                      <a:lnTo>
                        <a:pt x="0" y="621316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914446"/>
                  <a:endParaRPr lang="en-GB">
                    <a:solidFill>
                      <a:srgbClr val="000000"/>
                    </a:solidFill>
                    <a:latin typeface="Novo Apply Sans"/>
                  </a:endParaRPr>
                </a:p>
              </p:txBody>
            </p:sp>
            <p:sp>
              <p:nvSpPr>
                <p:cNvPr id="12" name="Freeform: Shape 11">
                  <a:extLst>
                    <a:ext uri="{FF2B5EF4-FFF2-40B4-BE49-F238E27FC236}">
                      <a16:creationId xmlns:a16="http://schemas.microsoft.com/office/drawing/2014/main" id="{02216D44-D8D1-4953-A9DF-467E1F1DEDCF}"/>
                    </a:ext>
                  </a:extLst>
                </p:cNvPr>
                <p:cNvSpPr/>
                <p:nvPr/>
              </p:nvSpPr>
              <p:spPr>
                <a:xfrm>
                  <a:off x="11329701" y="5041296"/>
                  <a:ext cx="740092" cy="210311"/>
                </a:xfrm>
                <a:custGeom>
                  <a:avLst/>
                  <a:gdLst>
                    <a:gd name="connsiteX0" fmla="*/ 0 w 740092"/>
                    <a:gd name="connsiteY0" fmla="*/ 0 h 210311"/>
                    <a:gd name="connsiteX1" fmla="*/ 740092 w 740092"/>
                    <a:gd name="connsiteY1" fmla="*/ 0 h 210311"/>
                    <a:gd name="connsiteX2" fmla="*/ 740092 w 740092"/>
                    <a:gd name="connsiteY2" fmla="*/ 210312 h 210311"/>
                    <a:gd name="connsiteX3" fmla="*/ 0 w 740092"/>
                    <a:gd name="connsiteY3" fmla="*/ 210312 h 2103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40092" h="210311">
                      <a:moveTo>
                        <a:pt x="0" y="0"/>
                      </a:moveTo>
                      <a:lnTo>
                        <a:pt x="740092" y="0"/>
                      </a:lnTo>
                      <a:lnTo>
                        <a:pt x="740092" y="210312"/>
                      </a:lnTo>
                      <a:lnTo>
                        <a:pt x="0" y="210312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914446"/>
                  <a:endParaRPr lang="en-GB">
                    <a:solidFill>
                      <a:srgbClr val="000000"/>
                    </a:solidFill>
                    <a:latin typeface="Novo Apply Sans"/>
                  </a:endParaRPr>
                </a:p>
              </p:txBody>
            </p:sp>
          </p:grpSp>
        </p:grpSp>
        <p:pic>
          <p:nvPicPr>
            <p:cNvPr id="77" name="Graphic 76">
              <a:extLst>
                <a:ext uri="{FF2B5EF4-FFF2-40B4-BE49-F238E27FC236}">
                  <a16:creationId xmlns:a16="http://schemas.microsoft.com/office/drawing/2014/main" id="{A25D2835-59EE-4BD9-A462-14CBF5A70863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742376" y="4509919"/>
              <a:ext cx="676275" cy="676275"/>
            </a:xfrm>
            <a:prstGeom prst="rect">
              <a:avLst/>
            </a:prstGeom>
          </p:spPr>
        </p:pic>
        <p:sp>
          <p:nvSpPr>
            <p:cNvPr id="109" name="Rectangle 108">
              <a:extLst>
                <a:ext uri="{FF2B5EF4-FFF2-40B4-BE49-F238E27FC236}">
                  <a16:creationId xmlns:a16="http://schemas.microsoft.com/office/drawing/2014/main" id="{710322A5-E195-4A14-A188-0ACFD932AD55}"/>
                </a:ext>
              </a:extLst>
            </p:cNvPr>
            <p:cNvSpPr>
              <a:spLocks/>
            </p:cNvSpPr>
            <p:nvPr/>
          </p:nvSpPr>
          <p:spPr>
            <a:xfrm>
              <a:off x="447889" y="5417802"/>
              <a:ext cx="1265252" cy="38722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914446">
                <a:lnSpc>
                  <a:spcPts val="1400"/>
                </a:lnSpc>
              </a:pPr>
              <a:r>
                <a:rPr lang="en-GB" sz="1067" b="1" dirty="0">
                  <a:solidFill>
                    <a:srgbClr val="001965"/>
                  </a:solidFill>
                  <a:latin typeface="Novo Apply Sans" panose="020F0502020204030204" pitchFamily="34" charset="0"/>
                </a:rPr>
                <a:t>Education</a:t>
              </a:r>
            </a:p>
          </p:txBody>
        </p:sp>
      </p:grpSp>
      <p:pic>
        <p:nvPicPr>
          <p:cNvPr id="140" name="Picture 139">
            <a:extLst>
              <a:ext uri="{FF2B5EF4-FFF2-40B4-BE49-F238E27FC236}">
                <a16:creationId xmlns:a16="http://schemas.microsoft.com/office/drawing/2014/main" id="{48B05B70-E4AD-4282-B7A0-C816567970BF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1781" y="4468181"/>
            <a:ext cx="1781164" cy="1265368"/>
          </a:xfrm>
          <a:prstGeom prst="rect">
            <a:avLst/>
          </a:prstGeom>
        </p:spPr>
      </p:pic>
      <p:pic>
        <p:nvPicPr>
          <p:cNvPr id="141" name="Picture 140">
            <a:extLst>
              <a:ext uri="{FF2B5EF4-FFF2-40B4-BE49-F238E27FC236}">
                <a16:creationId xmlns:a16="http://schemas.microsoft.com/office/drawing/2014/main" id="{BA9492D7-0A2E-4E3C-B3A4-0950BD70C012}"/>
              </a:ext>
            </a:extLst>
          </p:cNvPr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8246" y="4806591"/>
            <a:ext cx="2083514" cy="739595"/>
          </a:xfrm>
          <a:prstGeom prst="rect">
            <a:avLst/>
          </a:prstGeom>
        </p:spPr>
      </p:pic>
      <p:sp>
        <p:nvSpPr>
          <p:cNvPr id="142" name="Tekstfelt 40">
            <a:extLst>
              <a:ext uri="{FF2B5EF4-FFF2-40B4-BE49-F238E27FC236}">
                <a16:creationId xmlns:a16="http://schemas.microsoft.com/office/drawing/2014/main" id="{3CB7C673-3C49-439A-89D5-61D405714C93}"/>
              </a:ext>
            </a:extLst>
          </p:cNvPr>
          <p:cNvSpPr txBox="1"/>
          <p:nvPr/>
        </p:nvSpPr>
        <p:spPr>
          <a:xfrm>
            <a:off x="836885" y="2114814"/>
            <a:ext cx="4314236" cy="3282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446"/>
            <a:r>
              <a:rPr lang="en-GB" altLang="ja-JP" sz="2133" b="1" dirty="0">
                <a:solidFill>
                  <a:srgbClr val="001965"/>
                </a:solidFill>
                <a:latin typeface="Novo Apply Sans"/>
              </a:rPr>
              <a:t>Grant-giving activities</a:t>
            </a:r>
          </a:p>
        </p:txBody>
      </p: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45A17801-4E62-4E8D-AE1D-20A50AC9554E}"/>
              </a:ext>
            </a:extLst>
          </p:cNvPr>
          <p:cNvCxnSpPr>
            <a:cxnSpLocks/>
          </p:cNvCxnSpPr>
          <p:nvPr/>
        </p:nvCxnSpPr>
        <p:spPr>
          <a:xfrm>
            <a:off x="761618" y="2491869"/>
            <a:ext cx="5271600" cy="0"/>
          </a:xfrm>
          <a:prstGeom prst="line">
            <a:avLst/>
          </a:prstGeom>
          <a:ln w="3175">
            <a:solidFill>
              <a:schemeClr val="accent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Tekstfelt 40">
            <a:extLst>
              <a:ext uri="{FF2B5EF4-FFF2-40B4-BE49-F238E27FC236}">
                <a16:creationId xmlns:a16="http://schemas.microsoft.com/office/drawing/2014/main" id="{E12C95C2-DC42-472B-A50E-E2C59595CC67}"/>
              </a:ext>
            </a:extLst>
          </p:cNvPr>
          <p:cNvSpPr txBox="1"/>
          <p:nvPr/>
        </p:nvSpPr>
        <p:spPr>
          <a:xfrm>
            <a:off x="7165025" y="2122338"/>
            <a:ext cx="3229880" cy="3282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446"/>
            <a:r>
              <a:rPr lang="en-GB" altLang="ja-JP" sz="2133" b="1" dirty="0">
                <a:solidFill>
                  <a:srgbClr val="001965"/>
                </a:solidFill>
                <a:latin typeface="Novo Apply Sans"/>
              </a:rPr>
              <a:t>Commercial activities</a:t>
            </a:r>
          </a:p>
        </p:txBody>
      </p: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CEB9B051-B067-4588-ABA4-FAD9AD862852}"/>
              </a:ext>
            </a:extLst>
          </p:cNvPr>
          <p:cNvCxnSpPr>
            <a:cxnSpLocks/>
          </p:cNvCxnSpPr>
          <p:nvPr/>
        </p:nvCxnSpPr>
        <p:spPr>
          <a:xfrm>
            <a:off x="6127522" y="2491869"/>
            <a:ext cx="5105150" cy="0"/>
          </a:xfrm>
          <a:prstGeom prst="line">
            <a:avLst/>
          </a:prstGeom>
          <a:ln w="3175">
            <a:solidFill>
              <a:schemeClr val="accent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35415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9D5B823-0BD1-42E5-8248-BE16FACC4E4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9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9D5B823-0BD1-42E5-8248-BE16FACC4E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683F749F-2C8F-4157-A125-BE07A5725442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6657"/>
            <a:ext cx="12192000" cy="688465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6060B84-0F50-43F3-991D-833A69E42F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31200" y="493640"/>
            <a:ext cx="8404105" cy="980876"/>
          </a:xfrm>
        </p:spPr>
        <p:txBody>
          <a:bodyPr vert="horz"/>
          <a:lstStyle/>
          <a:p>
            <a:r>
              <a:rPr lang="en-GB" dirty="0">
                <a:solidFill>
                  <a:schemeClr val="bg1"/>
                </a:solidFill>
              </a:rPr>
              <a:t>Interdisciplinarity is one of our focus area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B9F71ED-C3C1-4643-8936-65C276954D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46"/>
            <a:fld id="{4D833E3B-2778-42F4-9ABB-9F6DE98C7B48}" type="slidenum">
              <a:rPr lang="en-GB">
                <a:solidFill>
                  <a:srgbClr val="001965"/>
                </a:solidFill>
                <a:latin typeface="Novo Apply Sans"/>
              </a:rPr>
              <a:pPr defTabSz="914446"/>
              <a:t>7</a:t>
            </a:fld>
            <a:endParaRPr lang="en-GB" dirty="0">
              <a:solidFill>
                <a:srgbClr val="001965"/>
              </a:solidFill>
              <a:latin typeface="Novo Apply Sans"/>
            </a:endParaRPr>
          </a:p>
        </p:txBody>
      </p:sp>
      <p:pic>
        <p:nvPicPr>
          <p:cNvPr id="13" name="Picture 19">
            <a:extLst>
              <a:ext uri="{FF2B5EF4-FFF2-40B4-BE49-F238E27FC236}">
                <a16:creationId xmlns:a16="http://schemas.microsoft.com/office/drawing/2014/main" id="{F78CD0E4-C6D8-4A45-81AE-088EC2B01440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595" y="183333"/>
            <a:ext cx="1897571" cy="548187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13CA50F4-2DC0-4369-9730-FDC81E0E72E5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2400" y="6412801"/>
            <a:ext cx="1768800" cy="157519"/>
          </a:xfrm>
          <a:prstGeom prst="rect">
            <a:avLst/>
          </a:prstGeom>
        </p:spPr>
      </p:pic>
      <p:sp>
        <p:nvSpPr>
          <p:cNvPr id="23" name="Oval 22">
            <a:extLst>
              <a:ext uri="{FF2B5EF4-FFF2-40B4-BE49-F238E27FC236}">
                <a16:creationId xmlns:a16="http://schemas.microsoft.com/office/drawing/2014/main" id="{6B9934DA-291E-4128-A9E4-FA08566EBDC3}"/>
              </a:ext>
            </a:extLst>
          </p:cNvPr>
          <p:cNvSpPr/>
          <p:nvPr/>
        </p:nvSpPr>
        <p:spPr>
          <a:xfrm>
            <a:off x="3712638" y="2088599"/>
            <a:ext cx="3958107" cy="3958107"/>
          </a:xfrm>
          <a:prstGeom prst="ellipse">
            <a:avLst/>
          </a:prstGeom>
          <a:noFill/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46"/>
            <a:endParaRPr lang="en-GB" sz="1600" spc="7">
              <a:solidFill>
                <a:srgbClr val="FFFFFF"/>
              </a:solidFill>
              <a:latin typeface="Novo Apply Sans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95498918-98B9-4884-A56D-E13D82B94EB9}"/>
              </a:ext>
            </a:extLst>
          </p:cNvPr>
          <p:cNvSpPr/>
          <p:nvPr/>
        </p:nvSpPr>
        <p:spPr>
          <a:xfrm>
            <a:off x="6544270" y="4836262"/>
            <a:ext cx="1170933" cy="1170933"/>
          </a:xfrm>
          <a:prstGeom prst="ellipse">
            <a:avLst/>
          </a:prstGeom>
          <a:solidFill>
            <a:schemeClr val="bg1"/>
          </a:solidFill>
          <a:ln>
            <a:solidFill>
              <a:srgbClr val="A0A9C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46"/>
            <a:endParaRPr lang="en-GB" sz="1600" spc="7">
              <a:solidFill>
                <a:srgbClr val="FFFFFF"/>
              </a:solidFill>
              <a:latin typeface="Novo Apply Sans"/>
            </a:endParaRPr>
          </a:p>
        </p:txBody>
      </p:sp>
      <p:sp>
        <p:nvSpPr>
          <p:cNvPr id="24" name="Ellipse 75">
            <a:extLst>
              <a:ext uri="{FF2B5EF4-FFF2-40B4-BE49-F238E27FC236}">
                <a16:creationId xmlns:a16="http://schemas.microsoft.com/office/drawing/2014/main" id="{53B671EB-5C42-4BED-AD6B-EFEE736E3DFC}"/>
              </a:ext>
            </a:extLst>
          </p:cNvPr>
          <p:cNvSpPr/>
          <p:nvPr/>
        </p:nvSpPr>
        <p:spPr>
          <a:xfrm>
            <a:off x="6563221" y="2127703"/>
            <a:ext cx="1170932" cy="117093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6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</a:pPr>
            <a:endParaRPr lang="en-GB" sz="933" dirty="0" err="1">
              <a:solidFill>
                <a:srgbClr val="FFFFFF"/>
              </a:solidFill>
              <a:latin typeface="Novo Apply Sans"/>
            </a:endParaRPr>
          </a:p>
        </p:txBody>
      </p:sp>
      <p:sp>
        <p:nvSpPr>
          <p:cNvPr id="26" name="Ellipse 69">
            <a:extLst>
              <a:ext uri="{FF2B5EF4-FFF2-40B4-BE49-F238E27FC236}">
                <a16:creationId xmlns:a16="http://schemas.microsoft.com/office/drawing/2014/main" id="{15D1D679-F0F2-4911-B006-9C81AFD71C74}"/>
              </a:ext>
            </a:extLst>
          </p:cNvPr>
          <p:cNvSpPr/>
          <p:nvPr/>
        </p:nvSpPr>
        <p:spPr>
          <a:xfrm>
            <a:off x="3648009" y="2088599"/>
            <a:ext cx="1170932" cy="117093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6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</a:pPr>
            <a:endParaRPr lang="en-GB" sz="933" dirty="0" err="1">
              <a:solidFill>
                <a:srgbClr val="FFFFFF"/>
              </a:solidFill>
              <a:latin typeface="Novo Apply Sans"/>
            </a:endParaRPr>
          </a:p>
        </p:txBody>
      </p:sp>
      <p:sp>
        <p:nvSpPr>
          <p:cNvPr id="29" name="Ellipse 97">
            <a:extLst>
              <a:ext uri="{FF2B5EF4-FFF2-40B4-BE49-F238E27FC236}">
                <a16:creationId xmlns:a16="http://schemas.microsoft.com/office/drawing/2014/main" id="{CD219533-E11E-4352-B3E4-F5290FBD87EB}"/>
              </a:ext>
            </a:extLst>
          </p:cNvPr>
          <p:cNvSpPr/>
          <p:nvPr/>
        </p:nvSpPr>
        <p:spPr>
          <a:xfrm>
            <a:off x="5190815" y="5361058"/>
            <a:ext cx="1170933" cy="117093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6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</a:pPr>
            <a:endParaRPr lang="en-GB" sz="933" dirty="0" err="1">
              <a:solidFill>
                <a:srgbClr val="FFFFFF"/>
              </a:solidFill>
              <a:latin typeface="Novo Apply Sans"/>
            </a:endParaRPr>
          </a:p>
        </p:txBody>
      </p:sp>
      <p:sp>
        <p:nvSpPr>
          <p:cNvPr id="32" name="Ellipse 91">
            <a:extLst>
              <a:ext uri="{FF2B5EF4-FFF2-40B4-BE49-F238E27FC236}">
                <a16:creationId xmlns:a16="http://schemas.microsoft.com/office/drawing/2014/main" id="{F2A39A93-AE83-4776-983F-4C20EA43E6B0}"/>
              </a:ext>
            </a:extLst>
          </p:cNvPr>
          <p:cNvSpPr/>
          <p:nvPr/>
        </p:nvSpPr>
        <p:spPr>
          <a:xfrm>
            <a:off x="7085279" y="3517406"/>
            <a:ext cx="1170932" cy="117093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6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</a:pPr>
            <a:endParaRPr lang="en-GB" sz="933" dirty="0" err="1">
              <a:solidFill>
                <a:srgbClr val="FFFFFF"/>
              </a:solidFill>
              <a:latin typeface="Novo Apply Sans"/>
            </a:endParaRPr>
          </a:p>
        </p:txBody>
      </p:sp>
      <p:pic>
        <p:nvPicPr>
          <p:cNvPr id="33" name="Grafik 92">
            <a:extLst>
              <a:ext uri="{FF2B5EF4-FFF2-40B4-BE49-F238E27FC236}">
                <a16:creationId xmlns:a16="http://schemas.microsoft.com/office/drawing/2014/main" id="{A6A9662A-8517-4219-98DD-BB4BD279580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485069" y="3755213"/>
            <a:ext cx="371352" cy="393859"/>
          </a:xfrm>
          <a:prstGeom prst="rect">
            <a:avLst/>
          </a:prstGeom>
        </p:spPr>
      </p:pic>
      <p:sp>
        <p:nvSpPr>
          <p:cNvPr id="43" name="Subtitle 11">
            <a:extLst>
              <a:ext uri="{FF2B5EF4-FFF2-40B4-BE49-F238E27FC236}">
                <a16:creationId xmlns:a16="http://schemas.microsoft.com/office/drawing/2014/main" id="{3A75693B-13AB-45E1-8074-C7A5AB548A46}"/>
              </a:ext>
            </a:extLst>
          </p:cNvPr>
          <p:cNvSpPr txBox="1">
            <a:spLocks/>
          </p:cNvSpPr>
          <p:nvPr/>
        </p:nvSpPr>
        <p:spPr>
          <a:xfrm>
            <a:off x="6764977" y="2787792"/>
            <a:ext cx="868165" cy="128519"/>
          </a:xfrm>
          <a:prstGeom prst="rect">
            <a:avLst/>
          </a:prstGeom>
        </p:spPr>
        <p:txBody>
          <a:bodyPr lIns="0" tIns="0" rIns="96000" bIns="0"/>
          <a:lstStyle>
            <a:lvl1pPr marL="180000" indent="-18000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GB" sz="1400" kern="1200" spc="-1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000" indent="-179388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39750" indent="-18000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896938" algn="l"/>
              </a:tabLst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GB" sz="1400" b="1" kern="1200" cap="none" baseline="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80000" indent="-18000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80000" indent="-18000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81383">
              <a:lnSpc>
                <a:spcPct val="100000"/>
              </a:lnSpc>
              <a:spcBef>
                <a:spcPts val="768"/>
              </a:spcBef>
              <a:spcAft>
                <a:spcPts val="0"/>
              </a:spcAft>
              <a:buClrTx/>
              <a:buSzPct val="100000"/>
              <a:buNone/>
            </a:pPr>
            <a:r>
              <a:rPr lang="en-US" sz="933" b="1" spc="-7" dirty="0">
                <a:solidFill>
                  <a:srgbClr val="001965"/>
                </a:solidFill>
                <a:latin typeface="Novo Apply Sans"/>
                <a:cs typeface="Novo Apply Sans" panose="020F0502020204030204" pitchFamily="34" charset="0"/>
              </a:rPr>
              <a:t>Biomedical research</a:t>
            </a:r>
          </a:p>
        </p:txBody>
      </p:sp>
      <p:sp>
        <p:nvSpPr>
          <p:cNvPr id="44" name="Subtitle 11">
            <a:extLst>
              <a:ext uri="{FF2B5EF4-FFF2-40B4-BE49-F238E27FC236}">
                <a16:creationId xmlns:a16="http://schemas.microsoft.com/office/drawing/2014/main" id="{989D1D96-0892-4AF9-9204-5AEFBB67A0E4}"/>
              </a:ext>
            </a:extLst>
          </p:cNvPr>
          <p:cNvSpPr txBox="1">
            <a:spLocks/>
          </p:cNvSpPr>
          <p:nvPr/>
        </p:nvSpPr>
        <p:spPr>
          <a:xfrm>
            <a:off x="3777929" y="2732561"/>
            <a:ext cx="1009031" cy="193920"/>
          </a:xfrm>
          <a:prstGeom prst="rect">
            <a:avLst/>
          </a:prstGeom>
        </p:spPr>
        <p:txBody>
          <a:bodyPr lIns="0" tIns="0" rIns="96000" bIns="0"/>
          <a:lstStyle>
            <a:lvl1pPr marL="180000" indent="-18000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GB" sz="1400" kern="1200" spc="-1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000" indent="-179388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39750" indent="-18000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896938" algn="l"/>
              </a:tabLst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GB" sz="1400" b="1" kern="1200" cap="none" baseline="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80000" indent="-18000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80000" indent="-18000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81383">
              <a:lnSpc>
                <a:spcPct val="100000"/>
              </a:lnSpc>
              <a:spcBef>
                <a:spcPts val="768"/>
              </a:spcBef>
              <a:spcAft>
                <a:spcPts val="0"/>
              </a:spcAft>
              <a:buClrTx/>
              <a:buSzPct val="100000"/>
              <a:buNone/>
            </a:pPr>
            <a:r>
              <a:rPr lang="en-US" sz="933" b="1" spc="-7" dirty="0">
                <a:solidFill>
                  <a:srgbClr val="001965"/>
                </a:solidFill>
                <a:latin typeface="Novo Apply Sans"/>
                <a:cs typeface="Novo Apply Sans" panose="020F0502020204030204" pitchFamily="34" charset="0"/>
              </a:rPr>
              <a:t>Biotechnology</a:t>
            </a:r>
          </a:p>
        </p:txBody>
      </p:sp>
      <p:sp>
        <p:nvSpPr>
          <p:cNvPr id="45" name="Subtitle 11">
            <a:extLst>
              <a:ext uri="{FF2B5EF4-FFF2-40B4-BE49-F238E27FC236}">
                <a16:creationId xmlns:a16="http://schemas.microsoft.com/office/drawing/2014/main" id="{DC02D669-8055-43DF-8F34-EA266DF407C1}"/>
              </a:ext>
            </a:extLst>
          </p:cNvPr>
          <p:cNvSpPr txBox="1">
            <a:spLocks/>
          </p:cNvSpPr>
          <p:nvPr/>
        </p:nvSpPr>
        <p:spPr>
          <a:xfrm>
            <a:off x="5381557" y="5989795"/>
            <a:ext cx="868167" cy="222625"/>
          </a:xfrm>
          <a:prstGeom prst="rect">
            <a:avLst/>
          </a:prstGeom>
        </p:spPr>
        <p:txBody>
          <a:bodyPr lIns="0" tIns="0" rIns="96000" bIns="0"/>
          <a:lstStyle>
            <a:lvl1pPr marL="180000" indent="-18000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GB" sz="1400" kern="1200" spc="-1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000" indent="-179388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39750" indent="-18000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896938" algn="l"/>
              </a:tabLst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GB" sz="1400" b="1" kern="1200" cap="none" baseline="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80000" indent="-18000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80000" indent="-18000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81383">
              <a:lnSpc>
                <a:spcPct val="100000"/>
              </a:lnSpc>
              <a:spcBef>
                <a:spcPts val="768"/>
              </a:spcBef>
              <a:spcAft>
                <a:spcPts val="0"/>
              </a:spcAft>
              <a:buClrTx/>
              <a:buSzPct val="100000"/>
              <a:buNone/>
            </a:pPr>
            <a:r>
              <a:rPr lang="en-US" sz="933" b="1" spc="-7" dirty="0">
                <a:solidFill>
                  <a:srgbClr val="001965"/>
                </a:solidFill>
                <a:latin typeface="Novo Apply Sans"/>
                <a:cs typeface="Novo Apply Sans" panose="020F0502020204030204" pitchFamily="34" charset="0"/>
              </a:rPr>
              <a:t>Natural and technical science</a:t>
            </a:r>
          </a:p>
        </p:txBody>
      </p:sp>
      <p:sp>
        <p:nvSpPr>
          <p:cNvPr id="46" name="Subtitle 11">
            <a:extLst>
              <a:ext uri="{FF2B5EF4-FFF2-40B4-BE49-F238E27FC236}">
                <a16:creationId xmlns:a16="http://schemas.microsoft.com/office/drawing/2014/main" id="{784B73B0-67D4-4CEF-851E-A116F0C4551D}"/>
              </a:ext>
            </a:extLst>
          </p:cNvPr>
          <p:cNvSpPr txBox="1">
            <a:spLocks/>
          </p:cNvSpPr>
          <p:nvPr/>
        </p:nvSpPr>
        <p:spPr>
          <a:xfrm>
            <a:off x="7275358" y="4250797"/>
            <a:ext cx="868165" cy="140038"/>
          </a:xfrm>
          <a:prstGeom prst="rect">
            <a:avLst/>
          </a:prstGeom>
        </p:spPr>
        <p:txBody>
          <a:bodyPr lIns="0" tIns="0" rIns="96000" bIns="0"/>
          <a:lstStyle>
            <a:lvl1pPr marL="180000" indent="-18000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GB" sz="1400" kern="1200" spc="-1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000" indent="-179388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39750" indent="-18000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896938" algn="l"/>
              </a:tabLst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GB" sz="1400" b="1" kern="1200" cap="none" baseline="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80000" indent="-18000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80000" indent="-18000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81383">
              <a:lnSpc>
                <a:spcPct val="100000"/>
              </a:lnSpc>
              <a:spcBef>
                <a:spcPts val="768"/>
              </a:spcBef>
              <a:spcAft>
                <a:spcPts val="0"/>
              </a:spcAft>
              <a:buClrTx/>
              <a:buSzPct val="100000"/>
              <a:buNone/>
            </a:pPr>
            <a:r>
              <a:rPr lang="en-US" sz="933" b="1" spc="-7" dirty="0">
                <a:solidFill>
                  <a:srgbClr val="001965"/>
                </a:solidFill>
                <a:latin typeface="Novo Apply Sans"/>
                <a:cs typeface="Novo Apply Sans" panose="020F0502020204030204" pitchFamily="34" charset="0"/>
              </a:rPr>
              <a:t>Innovation</a:t>
            </a:r>
          </a:p>
        </p:txBody>
      </p:sp>
      <p:sp>
        <p:nvSpPr>
          <p:cNvPr id="47" name="Subtitle 11">
            <a:extLst>
              <a:ext uri="{FF2B5EF4-FFF2-40B4-BE49-F238E27FC236}">
                <a16:creationId xmlns:a16="http://schemas.microsoft.com/office/drawing/2014/main" id="{41F5D056-9E65-47C6-9166-FDB2911F3BAD}"/>
              </a:ext>
            </a:extLst>
          </p:cNvPr>
          <p:cNvSpPr txBox="1">
            <a:spLocks/>
          </p:cNvSpPr>
          <p:nvPr/>
        </p:nvSpPr>
        <p:spPr>
          <a:xfrm>
            <a:off x="6786538" y="5580104"/>
            <a:ext cx="737293" cy="127982"/>
          </a:xfrm>
          <a:prstGeom prst="rect">
            <a:avLst/>
          </a:prstGeom>
        </p:spPr>
        <p:txBody>
          <a:bodyPr lIns="0" tIns="0" rIns="96000" bIns="0"/>
          <a:lstStyle>
            <a:lvl1pPr marL="180000" indent="-18000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GB" sz="1400" kern="1200" spc="-1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000" indent="-179388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39750" indent="-18000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896938" algn="l"/>
              </a:tabLst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GB" sz="1400" b="1" kern="1200" cap="none" baseline="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80000" indent="-18000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80000" indent="-18000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81383">
              <a:lnSpc>
                <a:spcPct val="100000"/>
              </a:lnSpc>
              <a:spcBef>
                <a:spcPts val="768"/>
              </a:spcBef>
              <a:spcAft>
                <a:spcPts val="0"/>
              </a:spcAft>
              <a:buClrTx/>
              <a:buSzPct val="100000"/>
              <a:buNone/>
            </a:pPr>
            <a:r>
              <a:rPr lang="en-US" sz="933" b="1" spc="-7" dirty="0">
                <a:solidFill>
                  <a:srgbClr val="001965"/>
                </a:solidFill>
                <a:latin typeface="Novo Apply Sans"/>
                <a:cs typeface="Novo Apply Sans" panose="020F0502020204030204" pitchFamily="34" charset="0"/>
              </a:rPr>
              <a:t>Data science</a:t>
            </a:r>
          </a:p>
        </p:txBody>
      </p:sp>
      <p:sp>
        <p:nvSpPr>
          <p:cNvPr id="48" name="Ellipse 75">
            <a:extLst>
              <a:ext uri="{FF2B5EF4-FFF2-40B4-BE49-F238E27FC236}">
                <a16:creationId xmlns:a16="http://schemas.microsoft.com/office/drawing/2014/main" id="{7DF53EC0-2BFA-46C0-A4F8-3A8E46C5A95F}"/>
              </a:ext>
            </a:extLst>
          </p:cNvPr>
          <p:cNvSpPr/>
          <p:nvPr/>
        </p:nvSpPr>
        <p:spPr>
          <a:xfrm>
            <a:off x="3668180" y="4890827"/>
            <a:ext cx="1170932" cy="117093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6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</a:pPr>
            <a:endParaRPr lang="en-GB" sz="933" dirty="0" err="1">
              <a:solidFill>
                <a:srgbClr val="FFFFFF"/>
              </a:solidFill>
              <a:latin typeface="Novo Apply Sans"/>
            </a:endParaRPr>
          </a:p>
        </p:txBody>
      </p:sp>
      <p:pic>
        <p:nvPicPr>
          <p:cNvPr id="50" name="Graphic 49" descr="Stethoscope">
            <a:extLst>
              <a:ext uri="{FF2B5EF4-FFF2-40B4-BE49-F238E27FC236}">
                <a16:creationId xmlns:a16="http://schemas.microsoft.com/office/drawing/2014/main" id="{664BCCD1-79E1-4AB0-89D9-5296C0C74CC7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100063" y="5140571"/>
            <a:ext cx="307167" cy="307167"/>
          </a:xfrm>
          <a:prstGeom prst="rect">
            <a:avLst/>
          </a:prstGeom>
        </p:spPr>
      </p:pic>
      <p:sp>
        <p:nvSpPr>
          <p:cNvPr id="51" name="Subtitle 11">
            <a:extLst>
              <a:ext uri="{FF2B5EF4-FFF2-40B4-BE49-F238E27FC236}">
                <a16:creationId xmlns:a16="http://schemas.microsoft.com/office/drawing/2014/main" id="{5168DFF8-3E6D-4150-B57F-19E239287B24}"/>
              </a:ext>
            </a:extLst>
          </p:cNvPr>
          <p:cNvSpPr txBox="1">
            <a:spLocks/>
          </p:cNvSpPr>
          <p:nvPr/>
        </p:nvSpPr>
        <p:spPr>
          <a:xfrm>
            <a:off x="3865083" y="5557016"/>
            <a:ext cx="868165" cy="307167"/>
          </a:xfrm>
          <a:prstGeom prst="rect">
            <a:avLst/>
          </a:prstGeom>
        </p:spPr>
        <p:txBody>
          <a:bodyPr lIns="0" tIns="0" rIns="96000" bIns="0"/>
          <a:lstStyle>
            <a:lvl1pPr marL="180000" indent="-18000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GB" sz="1400" kern="1200" spc="-1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000" indent="-179388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39750" indent="-18000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896938" algn="l"/>
              </a:tabLst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GB" sz="1400" b="1" kern="1200" cap="none" baseline="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80000" indent="-18000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80000" indent="-18000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81383">
              <a:lnSpc>
                <a:spcPct val="100000"/>
              </a:lnSpc>
              <a:spcBef>
                <a:spcPts val="768"/>
              </a:spcBef>
              <a:spcAft>
                <a:spcPts val="0"/>
              </a:spcAft>
              <a:buClrTx/>
              <a:buSzPct val="100000"/>
              <a:buNone/>
            </a:pPr>
            <a:r>
              <a:rPr lang="en-US" sz="933" b="1" spc="-7" dirty="0">
                <a:solidFill>
                  <a:srgbClr val="001965"/>
                </a:solidFill>
                <a:latin typeface="Novo Apply Sans"/>
                <a:cs typeface="Novo Apply Sans" panose="020F0502020204030204" pitchFamily="34" charset="0"/>
              </a:rPr>
              <a:t>Health science research</a:t>
            </a:r>
          </a:p>
        </p:txBody>
      </p:sp>
      <p:sp>
        <p:nvSpPr>
          <p:cNvPr id="52" name="Ellipse 75">
            <a:extLst>
              <a:ext uri="{FF2B5EF4-FFF2-40B4-BE49-F238E27FC236}">
                <a16:creationId xmlns:a16="http://schemas.microsoft.com/office/drawing/2014/main" id="{919EE9C9-DAD9-4C6A-B2A5-52B94B0031AF}"/>
              </a:ext>
            </a:extLst>
          </p:cNvPr>
          <p:cNvSpPr/>
          <p:nvPr/>
        </p:nvSpPr>
        <p:spPr>
          <a:xfrm>
            <a:off x="3127172" y="3470309"/>
            <a:ext cx="1170932" cy="117093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6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</a:pPr>
            <a:endParaRPr lang="en-GB" sz="933" dirty="0" err="1">
              <a:solidFill>
                <a:srgbClr val="FFFFFF"/>
              </a:solidFill>
              <a:latin typeface="Novo Apply Sans"/>
            </a:endParaRPr>
          </a:p>
        </p:txBody>
      </p:sp>
      <p:pic>
        <p:nvPicPr>
          <p:cNvPr id="54" name="Graphic 53" descr="Open hand with plant">
            <a:extLst>
              <a:ext uri="{FF2B5EF4-FFF2-40B4-BE49-F238E27FC236}">
                <a16:creationId xmlns:a16="http://schemas.microsoft.com/office/drawing/2014/main" id="{145775F1-D4F3-4192-AA6A-A93DAE416340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532958" y="3651358"/>
            <a:ext cx="359361" cy="359361"/>
          </a:xfrm>
          <a:prstGeom prst="rect">
            <a:avLst/>
          </a:prstGeom>
        </p:spPr>
      </p:pic>
      <p:sp>
        <p:nvSpPr>
          <p:cNvPr id="55" name="Subtitle 11">
            <a:extLst>
              <a:ext uri="{FF2B5EF4-FFF2-40B4-BE49-F238E27FC236}">
                <a16:creationId xmlns:a16="http://schemas.microsoft.com/office/drawing/2014/main" id="{20212C35-7F14-4187-8B2D-E799609E73EF}"/>
              </a:ext>
            </a:extLst>
          </p:cNvPr>
          <p:cNvSpPr txBox="1">
            <a:spLocks/>
          </p:cNvSpPr>
          <p:nvPr/>
        </p:nvSpPr>
        <p:spPr>
          <a:xfrm>
            <a:off x="3278556" y="4108560"/>
            <a:ext cx="868165" cy="299133"/>
          </a:xfrm>
          <a:prstGeom prst="rect">
            <a:avLst/>
          </a:prstGeom>
        </p:spPr>
        <p:txBody>
          <a:bodyPr lIns="0" tIns="0" rIns="96000" bIns="0"/>
          <a:lstStyle>
            <a:lvl1pPr marL="180000" indent="-18000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GB" sz="1400" kern="1200" spc="-1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000" indent="-179388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39750" indent="-18000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896938" algn="l"/>
              </a:tabLst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GB" sz="1400" b="1" kern="1200" cap="none" baseline="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80000" indent="-18000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80000" indent="-18000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81383">
              <a:lnSpc>
                <a:spcPct val="100000"/>
              </a:lnSpc>
              <a:spcBef>
                <a:spcPts val="768"/>
              </a:spcBef>
              <a:spcAft>
                <a:spcPts val="0"/>
              </a:spcAft>
              <a:buClrTx/>
              <a:buSzPct val="100000"/>
              <a:buNone/>
            </a:pPr>
            <a:r>
              <a:rPr lang="en-US" sz="933" b="1" spc="-7" dirty="0">
                <a:solidFill>
                  <a:srgbClr val="001965"/>
                </a:solidFill>
                <a:latin typeface="Novo Apply Sans"/>
                <a:cs typeface="Novo Apply Sans" panose="020F0502020204030204" pitchFamily="34" charset="0"/>
              </a:rPr>
              <a:t>Life science research</a:t>
            </a:r>
          </a:p>
        </p:txBody>
      </p:sp>
      <p:sp>
        <p:nvSpPr>
          <p:cNvPr id="56" name="Ellipse 75">
            <a:extLst>
              <a:ext uri="{FF2B5EF4-FFF2-40B4-BE49-F238E27FC236}">
                <a16:creationId xmlns:a16="http://schemas.microsoft.com/office/drawing/2014/main" id="{A5A1E6C5-D495-4C4C-8904-97935B32E088}"/>
              </a:ext>
            </a:extLst>
          </p:cNvPr>
          <p:cNvSpPr/>
          <p:nvPr/>
        </p:nvSpPr>
        <p:spPr>
          <a:xfrm>
            <a:off x="5153889" y="1603315"/>
            <a:ext cx="1170932" cy="1170932"/>
          </a:xfrm>
          <a:prstGeom prst="ellipse">
            <a:avLst/>
          </a:prstGeom>
          <a:solidFill>
            <a:srgbClr val="BCD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6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</a:pPr>
            <a:endParaRPr lang="en-GB" sz="933" dirty="0" err="1">
              <a:solidFill>
                <a:srgbClr val="FFFFFF"/>
              </a:solidFill>
              <a:latin typeface="Novo Apply Sans"/>
            </a:endParaRPr>
          </a:p>
        </p:txBody>
      </p:sp>
      <p:pic>
        <p:nvPicPr>
          <p:cNvPr id="58" name="Graphic 57" descr="Ethernet">
            <a:extLst>
              <a:ext uri="{FF2B5EF4-FFF2-40B4-BE49-F238E27FC236}">
                <a16:creationId xmlns:a16="http://schemas.microsoft.com/office/drawing/2014/main" id="{A774B52A-62EC-48CD-8DEE-34CB6B1923B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540905" y="1860167"/>
            <a:ext cx="392828" cy="392828"/>
          </a:xfrm>
          <a:prstGeom prst="rect">
            <a:avLst/>
          </a:prstGeom>
        </p:spPr>
      </p:pic>
      <p:sp>
        <p:nvSpPr>
          <p:cNvPr id="59" name="Subtitle 11">
            <a:extLst>
              <a:ext uri="{FF2B5EF4-FFF2-40B4-BE49-F238E27FC236}">
                <a16:creationId xmlns:a16="http://schemas.microsoft.com/office/drawing/2014/main" id="{E192214C-C60A-4FDD-BBD6-8F455DB68DD9}"/>
              </a:ext>
            </a:extLst>
          </p:cNvPr>
          <p:cNvSpPr txBox="1">
            <a:spLocks/>
          </p:cNvSpPr>
          <p:nvPr/>
        </p:nvSpPr>
        <p:spPr>
          <a:xfrm>
            <a:off x="5315790" y="2235941"/>
            <a:ext cx="1009031" cy="193920"/>
          </a:xfrm>
          <a:prstGeom prst="rect">
            <a:avLst/>
          </a:prstGeom>
        </p:spPr>
        <p:txBody>
          <a:bodyPr lIns="0" tIns="0" rIns="96000" bIns="0"/>
          <a:lstStyle>
            <a:lvl1pPr marL="180000" indent="-18000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GB" sz="1400" kern="1200" spc="-10" baseline="0" noProof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000" indent="-179388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39750" indent="-18000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896938" algn="l"/>
              </a:tabLst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GB" sz="1400" b="1" kern="1200" cap="none" baseline="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80000" indent="-18000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80000" indent="-18000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81383">
              <a:lnSpc>
                <a:spcPct val="100000"/>
              </a:lnSpc>
              <a:spcBef>
                <a:spcPts val="768"/>
              </a:spcBef>
              <a:spcAft>
                <a:spcPts val="0"/>
              </a:spcAft>
              <a:buClrTx/>
              <a:buSzPct val="100000"/>
              <a:buNone/>
            </a:pPr>
            <a:r>
              <a:rPr lang="en-US" sz="933" b="1" spc="-7" dirty="0">
                <a:solidFill>
                  <a:srgbClr val="001965"/>
                </a:solidFill>
                <a:latin typeface="Novo Apply Sans"/>
                <a:cs typeface="Novo Apply Sans" panose="020F0502020204030204" pitchFamily="34" charset="0"/>
              </a:rPr>
              <a:t>Interdisciplinarity</a:t>
            </a:r>
          </a:p>
        </p:txBody>
      </p:sp>
      <p:pic>
        <p:nvPicPr>
          <p:cNvPr id="7" name="Graphic 6" descr="Beaker">
            <a:extLst>
              <a:ext uri="{FF2B5EF4-FFF2-40B4-BE49-F238E27FC236}">
                <a16:creationId xmlns:a16="http://schemas.microsoft.com/office/drawing/2014/main" id="{70A38DCF-0D39-4874-95A9-A6CF7F10AAAD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4025725" y="2270088"/>
            <a:ext cx="381504" cy="381504"/>
          </a:xfrm>
          <a:prstGeom prst="rect">
            <a:avLst/>
          </a:prstGeom>
        </p:spPr>
      </p:pic>
      <p:pic>
        <p:nvPicPr>
          <p:cNvPr id="9" name="Graphic 8" descr="DNA">
            <a:extLst>
              <a:ext uri="{FF2B5EF4-FFF2-40B4-BE49-F238E27FC236}">
                <a16:creationId xmlns:a16="http://schemas.microsoft.com/office/drawing/2014/main" id="{A37806EB-279F-40E2-9C93-C648D8BB1D4E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6954603" y="2350321"/>
            <a:ext cx="382344" cy="382344"/>
          </a:xfrm>
          <a:prstGeom prst="rect">
            <a:avLst/>
          </a:prstGeom>
        </p:spPr>
      </p:pic>
      <p:pic>
        <p:nvPicPr>
          <p:cNvPr id="11" name="Graphic 10" descr="Computer">
            <a:extLst>
              <a:ext uri="{FF2B5EF4-FFF2-40B4-BE49-F238E27FC236}">
                <a16:creationId xmlns:a16="http://schemas.microsoft.com/office/drawing/2014/main" id="{A2F0B757-6BE6-4F6F-B4DC-7AAD5399F5CC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6930250" y="5087074"/>
            <a:ext cx="432414" cy="432414"/>
          </a:xfrm>
          <a:prstGeom prst="rect">
            <a:avLst/>
          </a:prstGeom>
        </p:spPr>
      </p:pic>
      <p:pic>
        <p:nvPicPr>
          <p:cNvPr id="12" name="Graphic 11" descr="Atom">
            <a:extLst>
              <a:ext uri="{FF2B5EF4-FFF2-40B4-BE49-F238E27FC236}">
                <a16:creationId xmlns:a16="http://schemas.microsoft.com/office/drawing/2014/main" id="{2C6C219D-D987-4788-AE23-67DBFBF5844A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5559297" y="5487999"/>
            <a:ext cx="458524" cy="458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30529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FD0826C-15CC-4723-B294-2A0F69DE39B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3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FD0826C-15CC-4723-B294-2A0F69DE39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0F7E3E-835B-44C6-8F15-8FCD64B18E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>
                <a:solidFill>
                  <a:srgbClr val="001965"/>
                </a:solidFill>
              </a:rPr>
              <a:t>Interdisciplinary Synergy Programmes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131460F-0613-45C2-A677-D542645E9D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8775" y="2411307"/>
            <a:ext cx="6858103" cy="2038351"/>
          </a:xfrm>
        </p:spPr>
        <p:txBody>
          <a:bodyPr/>
          <a:lstStyle/>
          <a:p>
            <a:pPr marL="0" indent="0">
              <a:buNone/>
            </a:pPr>
            <a:r>
              <a:rPr lang="en-GB" sz="1867" b="1" dirty="0">
                <a:solidFill>
                  <a:srgbClr val="001965"/>
                </a:solidFill>
              </a:rPr>
              <a:t>Key information</a:t>
            </a:r>
          </a:p>
          <a:p>
            <a:r>
              <a:rPr lang="en-GB" sz="1200" dirty="0">
                <a:solidFill>
                  <a:srgbClr val="001965"/>
                </a:solidFill>
              </a:rPr>
              <a:t>Pursue creative and novel, </a:t>
            </a:r>
            <a:r>
              <a:rPr lang="en-GB" sz="1200" b="1" dirty="0">
                <a:solidFill>
                  <a:srgbClr val="001965"/>
                </a:solidFill>
              </a:rPr>
              <a:t>high-risk/high-gain interdisciplinary </a:t>
            </a:r>
            <a:r>
              <a:rPr lang="en-GB" sz="1200" dirty="0">
                <a:solidFill>
                  <a:srgbClr val="001965"/>
                </a:solidFill>
              </a:rPr>
              <a:t>research ideas</a:t>
            </a:r>
          </a:p>
          <a:p>
            <a:r>
              <a:rPr lang="en-GB" sz="1200" dirty="0">
                <a:solidFill>
                  <a:srgbClr val="001965"/>
                </a:solidFill>
              </a:rPr>
              <a:t>Break down or overcome the barriers that exist between different disciplines</a:t>
            </a:r>
          </a:p>
          <a:p>
            <a:r>
              <a:rPr lang="en-US" sz="1200" dirty="0">
                <a:solidFill>
                  <a:srgbClr val="001965"/>
                </a:solidFill>
              </a:rPr>
              <a:t>Consortia with 2 - 4 research groups</a:t>
            </a:r>
          </a:p>
          <a:p>
            <a:r>
              <a:rPr lang="en-GB" sz="1200" dirty="0">
                <a:solidFill>
                  <a:srgbClr val="001965"/>
                </a:solidFill>
              </a:rPr>
              <a:t>Main applicant anchored in Denmark. 1-3 interdisciplinary co-applicants (may be international)</a:t>
            </a:r>
          </a:p>
          <a:p>
            <a:pPr marL="0" indent="0">
              <a:buNone/>
            </a:pPr>
            <a:endParaRPr lang="en-GB" sz="2133" dirty="0">
              <a:solidFill>
                <a:srgbClr val="001965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D7D5A1-7EFE-4F35-A505-15FC9E5249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46"/>
            <a:endParaRPr lang="en-GB">
              <a:solidFill>
                <a:srgbClr val="001965"/>
              </a:solidFill>
              <a:latin typeface="Novo Apply San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9760A4-BB35-48D6-9E08-3F3C55F5FE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46"/>
            <a:fld id="{4D833E3B-2778-42F4-9ABB-9F6DE98C7B48}" type="slidenum">
              <a:rPr lang="en-GB">
                <a:solidFill>
                  <a:srgbClr val="001965"/>
                </a:solidFill>
                <a:latin typeface="Novo Apply Sans"/>
              </a:rPr>
              <a:pPr defTabSz="914446"/>
              <a:t>8</a:t>
            </a:fld>
            <a:endParaRPr lang="en-GB">
              <a:solidFill>
                <a:srgbClr val="001965"/>
              </a:solidFill>
              <a:latin typeface="Novo Apply San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081FCA6-BCA1-42B8-8DB3-D2ABA9AC73A9}"/>
              </a:ext>
            </a:extLst>
          </p:cNvPr>
          <p:cNvSpPr txBox="1"/>
          <p:nvPr/>
        </p:nvSpPr>
        <p:spPr>
          <a:xfrm>
            <a:off x="7216877" y="3008671"/>
            <a:ext cx="609600" cy="6096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4446">
              <a:lnSpc>
                <a:spcPct val="107000"/>
              </a:lnSpc>
              <a:spcAft>
                <a:spcPts val="400"/>
              </a:spcAft>
            </a:pPr>
            <a:endParaRPr lang="en-GB" sz="1600" spc="7" dirty="0">
              <a:solidFill>
                <a:srgbClr val="001965"/>
              </a:solidFill>
              <a:latin typeface="Novo Apply Sans" panose="020B0503030000000000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273793C-B24A-436A-8776-EEE349D2D256}"/>
              </a:ext>
            </a:extLst>
          </p:cNvPr>
          <p:cNvSpPr/>
          <p:nvPr/>
        </p:nvSpPr>
        <p:spPr>
          <a:xfrm>
            <a:off x="387603" y="4615331"/>
            <a:ext cx="9086680" cy="1424755"/>
          </a:xfrm>
          <a:prstGeom prst="rect">
            <a:avLst/>
          </a:prstGeom>
          <a:solidFill>
            <a:srgbClr val="BCD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46"/>
            <a:endParaRPr lang="en-GB" sz="1333" spc="7">
              <a:solidFill>
                <a:srgbClr val="FFFFFF"/>
              </a:solidFill>
              <a:latin typeface="Novo Apply San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C5C4CA7-A871-43A8-878E-9BBB0B0F022D}"/>
              </a:ext>
            </a:extLst>
          </p:cNvPr>
          <p:cNvSpPr txBox="1"/>
          <p:nvPr/>
        </p:nvSpPr>
        <p:spPr>
          <a:xfrm>
            <a:off x="579435" y="4715536"/>
            <a:ext cx="3795252" cy="132455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4446">
              <a:spcAft>
                <a:spcPts val="800"/>
              </a:spcAft>
            </a:pPr>
            <a:r>
              <a:rPr lang="en-GB" sz="1200" b="1" dirty="0">
                <a:solidFill>
                  <a:srgbClr val="FFFFFF"/>
                </a:solidFill>
                <a:latin typeface="Novo Apply Sans"/>
              </a:rPr>
              <a:t>Interdisciplinary Synergy Programme:</a:t>
            </a:r>
          </a:p>
          <a:p>
            <a:pPr marL="120006" indent="-120006" defTabSz="914446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GB" sz="1067" dirty="0">
                <a:solidFill>
                  <a:srgbClr val="FFFFFF"/>
                </a:solidFill>
                <a:latin typeface="Novo Apply Sans"/>
              </a:rPr>
              <a:t>Ideally founded on early data showing feasibility of the idea</a:t>
            </a:r>
          </a:p>
          <a:p>
            <a:pPr marL="120006" indent="-120006" defTabSz="914446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GB" sz="1067" dirty="0">
                <a:solidFill>
                  <a:srgbClr val="FFFFFF"/>
                </a:solidFill>
                <a:latin typeface="Novo Apply Sans"/>
              </a:rPr>
              <a:t>Grant budget: </a:t>
            </a:r>
            <a:r>
              <a:rPr lang="en-GB" sz="1067" b="1" dirty="0">
                <a:solidFill>
                  <a:srgbClr val="FFFFFF"/>
                </a:solidFill>
                <a:latin typeface="Novo Apply Sans"/>
              </a:rPr>
              <a:t>DKK 15 million over 4 years </a:t>
            </a:r>
          </a:p>
          <a:p>
            <a:pPr marL="120006" indent="-120006" defTabSz="914446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GB" sz="1067" dirty="0">
                <a:solidFill>
                  <a:srgbClr val="FFFFFF"/>
                </a:solidFill>
                <a:latin typeface="Novo Apply Sans"/>
              </a:rPr>
              <a:t>Application deadline: </a:t>
            </a:r>
            <a:r>
              <a:rPr lang="en-GB" sz="1067" b="1" dirty="0">
                <a:solidFill>
                  <a:srgbClr val="FFFFFF"/>
                </a:solidFill>
                <a:latin typeface="Novo Apply Sans"/>
              </a:rPr>
              <a:t>June 202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ADE029C-A201-4745-B941-C4B7D0D794CB}"/>
              </a:ext>
            </a:extLst>
          </p:cNvPr>
          <p:cNvSpPr txBox="1"/>
          <p:nvPr/>
        </p:nvSpPr>
        <p:spPr>
          <a:xfrm>
            <a:off x="5221455" y="4758384"/>
            <a:ext cx="3795252" cy="108761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4446">
              <a:spcAft>
                <a:spcPts val="800"/>
              </a:spcAft>
            </a:pPr>
            <a:r>
              <a:rPr lang="en-US" sz="1200" b="1" dirty="0">
                <a:solidFill>
                  <a:srgbClr val="FFFFFF"/>
                </a:solidFill>
                <a:latin typeface="Novo Apply Sans"/>
              </a:rPr>
              <a:t>Exploratory Interdisciplinary Synergy </a:t>
            </a:r>
            <a:r>
              <a:rPr lang="en-US" sz="1200" b="1" dirty="0" err="1">
                <a:solidFill>
                  <a:srgbClr val="FFFFFF"/>
                </a:solidFill>
                <a:latin typeface="Novo Apply Sans"/>
              </a:rPr>
              <a:t>Programme</a:t>
            </a:r>
            <a:r>
              <a:rPr lang="en-US" sz="1200" b="1" dirty="0">
                <a:solidFill>
                  <a:srgbClr val="FFFFFF"/>
                </a:solidFill>
                <a:latin typeface="Novo Apply Sans"/>
              </a:rPr>
              <a:t>:</a:t>
            </a:r>
          </a:p>
          <a:p>
            <a:pPr marL="120006" indent="-120006" defTabSz="914446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GB" sz="1067" dirty="0">
                <a:solidFill>
                  <a:srgbClr val="FFFFFF"/>
                </a:solidFill>
                <a:latin typeface="Novo Apply Sans"/>
              </a:rPr>
              <a:t>Aimed towards early-stage or unexplored ideas</a:t>
            </a:r>
            <a:endParaRPr lang="en-US" sz="1067" dirty="0">
              <a:solidFill>
                <a:srgbClr val="FFFFFF"/>
              </a:solidFill>
              <a:latin typeface="Novo Apply Sans"/>
            </a:endParaRPr>
          </a:p>
          <a:p>
            <a:pPr marL="120006" indent="-120006" defTabSz="914446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067" dirty="0">
                <a:solidFill>
                  <a:srgbClr val="FFFFFF"/>
                </a:solidFill>
                <a:latin typeface="Novo Apply Sans"/>
              </a:rPr>
              <a:t>Grant budget: </a:t>
            </a:r>
            <a:r>
              <a:rPr lang="en-US" sz="1067" b="1" dirty="0">
                <a:solidFill>
                  <a:srgbClr val="FFFFFF"/>
                </a:solidFill>
                <a:latin typeface="Novo Apply Sans"/>
              </a:rPr>
              <a:t>DKK 5 million over 3 years </a:t>
            </a:r>
          </a:p>
          <a:p>
            <a:pPr marL="120006" indent="-120006" defTabSz="914446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067" dirty="0">
                <a:solidFill>
                  <a:srgbClr val="FFFFFF"/>
                </a:solidFill>
                <a:latin typeface="Novo Apply Sans"/>
              </a:rPr>
              <a:t>Application deadline: </a:t>
            </a:r>
            <a:r>
              <a:rPr lang="en-US" sz="1067" b="1" dirty="0">
                <a:solidFill>
                  <a:srgbClr val="FFFFFF"/>
                </a:solidFill>
                <a:latin typeface="Novo Apply Sans"/>
              </a:rPr>
              <a:t>August 2021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2E744156-596A-409E-91C6-EF944701A1B7}"/>
              </a:ext>
            </a:extLst>
          </p:cNvPr>
          <p:cNvSpPr/>
          <p:nvPr/>
        </p:nvSpPr>
        <p:spPr>
          <a:xfrm>
            <a:off x="7216878" y="607393"/>
            <a:ext cx="2374140" cy="2484781"/>
          </a:xfrm>
          <a:prstGeom prst="ellipse">
            <a:avLst/>
          </a:prstGeom>
          <a:solidFill>
            <a:srgbClr val="6675A2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46"/>
            <a:r>
              <a:rPr lang="en-GB" sz="1600" spc="7" dirty="0">
                <a:solidFill>
                  <a:srgbClr val="FFFFFF"/>
                </a:solidFill>
                <a:latin typeface="Novo Apply Sans"/>
              </a:rPr>
              <a:t>Natural and Technical Sciences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1247474F-5D27-4110-8596-AA7CA0628AC9}"/>
              </a:ext>
            </a:extLst>
          </p:cNvPr>
          <p:cNvSpPr/>
          <p:nvPr/>
        </p:nvSpPr>
        <p:spPr>
          <a:xfrm>
            <a:off x="9305804" y="565320"/>
            <a:ext cx="2406848" cy="2344586"/>
          </a:xfrm>
          <a:prstGeom prst="ellipse">
            <a:avLst/>
          </a:prstGeom>
          <a:solidFill>
            <a:srgbClr val="8E7387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46"/>
            <a:r>
              <a:rPr lang="en-GB" sz="1600" spc="7" dirty="0">
                <a:solidFill>
                  <a:srgbClr val="FFFFFF"/>
                </a:solidFill>
                <a:latin typeface="Novo Apply Sans"/>
              </a:rPr>
              <a:t>Biomedical and Health Sciences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3F9D8D91-02D6-4A9E-BC89-8D305CD63E88}"/>
              </a:ext>
            </a:extLst>
          </p:cNvPr>
          <p:cNvSpPr/>
          <p:nvPr/>
        </p:nvSpPr>
        <p:spPr>
          <a:xfrm>
            <a:off x="8236933" y="2072276"/>
            <a:ext cx="2474701" cy="2454940"/>
          </a:xfrm>
          <a:prstGeom prst="ellipse">
            <a:avLst/>
          </a:prstGeom>
          <a:solidFill>
            <a:srgbClr val="73999C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46"/>
            <a:endParaRPr lang="en-GB" sz="1600" spc="7" dirty="0">
              <a:solidFill>
                <a:srgbClr val="FFFFFF"/>
              </a:solidFill>
              <a:latin typeface="Novo Apply Sans"/>
            </a:endParaRPr>
          </a:p>
          <a:p>
            <a:pPr algn="ctr" defTabSz="914446"/>
            <a:endParaRPr lang="en-GB" sz="1600" spc="7" dirty="0">
              <a:solidFill>
                <a:srgbClr val="FFFFFF"/>
              </a:solidFill>
              <a:latin typeface="Novo Apply Sans"/>
            </a:endParaRPr>
          </a:p>
          <a:p>
            <a:pPr algn="ctr" defTabSz="914446"/>
            <a:endParaRPr lang="en-GB" sz="1600" spc="7" dirty="0">
              <a:solidFill>
                <a:srgbClr val="FFFFFF"/>
              </a:solidFill>
              <a:latin typeface="Novo Apply Sans"/>
            </a:endParaRPr>
          </a:p>
          <a:p>
            <a:pPr algn="ctr" defTabSz="914446"/>
            <a:r>
              <a:rPr lang="en-GB" sz="1600" spc="7" dirty="0">
                <a:solidFill>
                  <a:srgbClr val="FFFFFF"/>
                </a:solidFill>
                <a:latin typeface="Novo Apply Sans"/>
              </a:rPr>
              <a:t>Life Sciences and Biotechnolog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BB09925-0BBB-46BB-BCB3-54123A32F414}"/>
              </a:ext>
            </a:extLst>
          </p:cNvPr>
          <p:cNvSpPr txBox="1"/>
          <p:nvPr/>
        </p:nvSpPr>
        <p:spPr>
          <a:xfrm>
            <a:off x="358776" y="996084"/>
            <a:ext cx="6485145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46">
              <a:spcBef>
                <a:spcPts val="400"/>
              </a:spcBef>
              <a:spcAft>
                <a:spcPts val="400"/>
              </a:spcAft>
            </a:pPr>
            <a:r>
              <a:rPr lang="en-GB" sz="1600" dirty="0">
                <a:solidFill>
                  <a:srgbClr val="001965"/>
                </a:solidFill>
                <a:latin typeface="Novo Apply Sans" panose="020B0503030000000000"/>
              </a:rPr>
              <a:t>To support research projects across disciplines, organizations and national borders, in order to resolve complex interdisciplinary challenges.</a:t>
            </a:r>
          </a:p>
        </p:txBody>
      </p:sp>
      <p:pic>
        <p:nvPicPr>
          <p:cNvPr id="17" name="Grafik 98">
            <a:extLst>
              <a:ext uri="{FF2B5EF4-FFF2-40B4-BE49-F238E27FC236}">
                <a16:creationId xmlns:a16="http://schemas.microsoft.com/office/drawing/2014/main" id="{3753FA17-2DC3-4655-837E-A5DCB52AE107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352328" y="874573"/>
            <a:ext cx="326881" cy="384085"/>
          </a:xfrm>
          <a:prstGeom prst="rect">
            <a:avLst/>
          </a:prstGeom>
        </p:spPr>
      </p:pic>
      <p:pic>
        <p:nvPicPr>
          <p:cNvPr id="18" name="Graphic 17" descr="Stethoscope">
            <a:extLst>
              <a:ext uri="{FF2B5EF4-FFF2-40B4-BE49-F238E27FC236}">
                <a16:creationId xmlns:a16="http://schemas.microsoft.com/office/drawing/2014/main" id="{8B3969AC-4149-4DFC-8CE8-42316A024D24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457361" y="1060008"/>
            <a:ext cx="307167" cy="307167"/>
          </a:xfrm>
          <a:prstGeom prst="rect">
            <a:avLst/>
          </a:prstGeom>
        </p:spPr>
      </p:pic>
      <p:pic>
        <p:nvPicPr>
          <p:cNvPr id="19" name="Grafik 70">
            <a:extLst>
              <a:ext uri="{FF2B5EF4-FFF2-40B4-BE49-F238E27FC236}">
                <a16:creationId xmlns:a16="http://schemas.microsoft.com/office/drawing/2014/main" id="{5C057A1D-63E9-4F87-A7E1-7BFE36BC2AF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437091" y="2323143"/>
            <a:ext cx="269075" cy="26907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BBFD02B-C482-4BED-AC2F-8A8C7C1FA962}"/>
              </a:ext>
            </a:extLst>
          </p:cNvPr>
          <p:cNvSpPr txBox="1"/>
          <p:nvPr/>
        </p:nvSpPr>
        <p:spPr>
          <a:xfrm>
            <a:off x="9619881" y="4615331"/>
            <a:ext cx="2092771" cy="1424755"/>
          </a:xfrm>
          <a:prstGeom prst="rect">
            <a:avLst/>
          </a:prstGeom>
          <a:solidFill>
            <a:srgbClr val="BCDB00"/>
          </a:solidFill>
        </p:spPr>
        <p:txBody>
          <a:bodyPr wrap="square" lIns="0" tIns="0" rIns="0" bIns="0" rtlCol="0">
            <a:noAutofit/>
          </a:bodyPr>
          <a:lstStyle/>
          <a:p>
            <a:pPr defTabSz="914446">
              <a:lnSpc>
                <a:spcPct val="107000"/>
              </a:lnSpc>
              <a:spcAft>
                <a:spcPts val="400"/>
              </a:spcAft>
            </a:pPr>
            <a:endParaRPr lang="en-GB" sz="1600" spc="7" dirty="0">
              <a:solidFill>
                <a:srgbClr val="001965"/>
              </a:solidFill>
              <a:latin typeface="Novo Apply Sans" panose="020B0503030000000000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055742E-7C4A-4D46-B143-DDF1707A711C}"/>
              </a:ext>
            </a:extLst>
          </p:cNvPr>
          <p:cNvSpPr/>
          <p:nvPr/>
        </p:nvSpPr>
        <p:spPr>
          <a:xfrm>
            <a:off x="9777190" y="5014933"/>
            <a:ext cx="1675459" cy="58471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46">
              <a:spcBef>
                <a:spcPts val="400"/>
              </a:spcBef>
              <a:spcAft>
                <a:spcPts val="400"/>
              </a:spcAft>
            </a:pPr>
            <a:r>
              <a:rPr lang="en-GB" sz="1333" b="1" dirty="0">
                <a:solidFill>
                  <a:srgbClr val="FFFFFF"/>
                </a:solidFill>
                <a:latin typeface="Novo Apply Sans"/>
              </a:rPr>
              <a:t>RESEARCH AREA</a:t>
            </a:r>
          </a:p>
          <a:p>
            <a:pPr defTabSz="914446">
              <a:spcBef>
                <a:spcPts val="400"/>
              </a:spcBef>
              <a:spcAft>
                <a:spcPts val="400"/>
              </a:spcAft>
            </a:pPr>
            <a:r>
              <a:rPr lang="en-GB" sz="1200" dirty="0">
                <a:solidFill>
                  <a:srgbClr val="FFFFFF"/>
                </a:solidFill>
                <a:latin typeface="Novo Apply Sans"/>
              </a:rPr>
              <a:t>Interdisciplinary</a:t>
            </a:r>
          </a:p>
        </p:txBody>
      </p:sp>
      <p:pic>
        <p:nvPicPr>
          <p:cNvPr id="21" name="Graphic 20" descr="Magnifying glass">
            <a:extLst>
              <a:ext uri="{FF2B5EF4-FFF2-40B4-BE49-F238E27FC236}">
                <a16:creationId xmlns:a16="http://schemas.microsoft.com/office/drawing/2014/main" id="{BB1EC26C-389B-4EEA-B585-D1FB6931ED9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 flipH="1">
            <a:off x="11148941" y="5066294"/>
            <a:ext cx="471795" cy="471795"/>
          </a:xfrm>
          <a:prstGeom prst="rect">
            <a:avLst/>
          </a:prstGeom>
        </p:spPr>
      </p:pic>
      <p:sp>
        <p:nvSpPr>
          <p:cNvPr id="22" name="Oval 21">
            <a:extLst>
              <a:ext uri="{FF2B5EF4-FFF2-40B4-BE49-F238E27FC236}">
                <a16:creationId xmlns:a16="http://schemas.microsoft.com/office/drawing/2014/main" id="{DE9AAFCF-23FC-4807-A624-5CD5C33DE76C}"/>
              </a:ext>
            </a:extLst>
          </p:cNvPr>
          <p:cNvSpPr/>
          <p:nvPr/>
        </p:nvSpPr>
        <p:spPr>
          <a:xfrm>
            <a:off x="8571555" y="1637375"/>
            <a:ext cx="1837337" cy="1721979"/>
          </a:xfrm>
          <a:prstGeom prst="ellipse">
            <a:avLst/>
          </a:prstGeom>
          <a:solidFill>
            <a:srgbClr val="BCDB00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46"/>
            <a:r>
              <a:rPr lang="en-GB" sz="1600" spc="7" dirty="0">
                <a:solidFill>
                  <a:srgbClr val="000000"/>
                </a:solidFill>
                <a:latin typeface="Novo Apply Sans"/>
              </a:rPr>
              <a:t>Social sciences and humanities</a:t>
            </a:r>
          </a:p>
        </p:txBody>
      </p:sp>
    </p:spTree>
    <p:extLst>
      <p:ext uri="{BB962C8B-B14F-4D97-AF65-F5344CB8AC3E}">
        <p14:creationId xmlns:p14="http://schemas.microsoft.com/office/powerpoint/2010/main" val="5114337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7" name="Object 66" hidden="1">
            <a:extLst>
              <a:ext uri="{FF2B5EF4-FFF2-40B4-BE49-F238E27FC236}">
                <a16:creationId xmlns:a16="http://schemas.microsoft.com/office/drawing/2014/main" id="{711F56BC-6239-4C12-8262-CF7A1B1D55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7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67" name="Object 66" hidden="1">
                        <a:extLst>
                          <a:ext uri="{FF2B5EF4-FFF2-40B4-BE49-F238E27FC236}">
                            <a16:creationId xmlns:a16="http://schemas.microsoft.com/office/drawing/2014/main" id="{711F56BC-6239-4C12-8262-CF7A1B1D55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A6E4D9A4-C8B5-4622-A479-051D2FEAC9D5}"/>
              </a:ext>
            </a:extLst>
          </p:cNvPr>
          <p:cNvCxnSpPr>
            <a:cxnSpLocks/>
          </p:cNvCxnSpPr>
          <p:nvPr/>
        </p:nvCxnSpPr>
        <p:spPr>
          <a:xfrm>
            <a:off x="10469959" y="1053712"/>
            <a:ext cx="0" cy="502449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D9E1B243-C884-4D53-ACA6-53DA02D2B598}"/>
              </a:ext>
            </a:extLst>
          </p:cNvPr>
          <p:cNvCxnSpPr>
            <a:cxnSpLocks/>
          </p:cNvCxnSpPr>
          <p:nvPr/>
        </p:nvCxnSpPr>
        <p:spPr>
          <a:xfrm>
            <a:off x="8893520" y="1053712"/>
            <a:ext cx="0" cy="502449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21101295-EF66-4D03-88A9-4FC2629CA2D5}"/>
              </a:ext>
            </a:extLst>
          </p:cNvPr>
          <p:cNvCxnSpPr>
            <a:cxnSpLocks/>
          </p:cNvCxnSpPr>
          <p:nvPr/>
        </p:nvCxnSpPr>
        <p:spPr>
          <a:xfrm>
            <a:off x="7277752" y="1108134"/>
            <a:ext cx="0" cy="502449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308437BA-B881-42F5-9207-0BB3839053B7}"/>
              </a:ext>
            </a:extLst>
          </p:cNvPr>
          <p:cNvCxnSpPr>
            <a:cxnSpLocks/>
          </p:cNvCxnSpPr>
          <p:nvPr/>
        </p:nvCxnSpPr>
        <p:spPr>
          <a:xfrm>
            <a:off x="5671817" y="1108134"/>
            <a:ext cx="0" cy="502449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tangle 70">
            <a:extLst>
              <a:ext uri="{FF2B5EF4-FFF2-40B4-BE49-F238E27FC236}">
                <a16:creationId xmlns:a16="http://schemas.microsoft.com/office/drawing/2014/main" id="{28DBD2F4-0B7F-4ECF-9087-7ACF5908320D}"/>
              </a:ext>
            </a:extLst>
          </p:cNvPr>
          <p:cNvSpPr/>
          <p:nvPr/>
        </p:nvSpPr>
        <p:spPr>
          <a:xfrm>
            <a:off x="2654004" y="1148376"/>
            <a:ext cx="1281101" cy="8815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46"/>
            <a:r>
              <a:rPr lang="en-GB" sz="1067" b="1" spc="7" dirty="0">
                <a:solidFill>
                  <a:srgbClr val="001965"/>
                </a:solidFill>
                <a:latin typeface="Novo Apply Sans"/>
              </a:rPr>
              <a:t>Industrial Biotechnology and Environmental Biotechnology</a:t>
            </a: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536B386F-543D-4AE6-97D5-DD264D44D0B1}"/>
              </a:ext>
            </a:extLst>
          </p:cNvPr>
          <p:cNvCxnSpPr>
            <a:cxnSpLocks/>
          </p:cNvCxnSpPr>
          <p:nvPr/>
        </p:nvCxnSpPr>
        <p:spPr>
          <a:xfrm>
            <a:off x="4115043" y="1148135"/>
            <a:ext cx="0" cy="502449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E0821A6-D03C-4CDF-902C-F46D721751B2}"/>
              </a:ext>
            </a:extLst>
          </p:cNvPr>
          <p:cNvCxnSpPr>
            <a:cxnSpLocks/>
          </p:cNvCxnSpPr>
          <p:nvPr/>
        </p:nvCxnSpPr>
        <p:spPr>
          <a:xfrm>
            <a:off x="2496687" y="1148135"/>
            <a:ext cx="0" cy="502449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2D587704-8EC5-4BF1-A2AE-17E5612F37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431999"/>
            <a:ext cx="11472001" cy="504488"/>
          </a:xfrm>
        </p:spPr>
        <p:txBody>
          <a:bodyPr vert="horz"/>
          <a:lstStyle/>
          <a:p>
            <a:r>
              <a:rPr lang="en-GB" dirty="0"/>
              <a:t>Funding areas and grant typ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5DE3536-CEA7-4876-BED4-B72B53B92B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46"/>
            <a:endParaRPr lang="en-GB" dirty="0">
              <a:solidFill>
                <a:srgbClr val="001965"/>
              </a:solidFill>
              <a:latin typeface="Novo Apply San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EA5AF7-00DA-48F1-B2B6-0385D22368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46"/>
            <a:fld id="{4D833E3B-2778-42F4-9ABB-9F6DE98C7B48}" type="slidenum">
              <a:rPr lang="en-GB">
                <a:solidFill>
                  <a:srgbClr val="001965"/>
                </a:solidFill>
                <a:latin typeface="Novo Apply Sans"/>
              </a:rPr>
              <a:pPr defTabSz="914446"/>
              <a:t>9</a:t>
            </a:fld>
            <a:endParaRPr lang="en-GB" dirty="0">
              <a:solidFill>
                <a:srgbClr val="001965"/>
              </a:solidFill>
              <a:latin typeface="Novo Apply Sans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A8C0184D-4284-4976-AA49-B5F337F87748}"/>
              </a:ext>
            </a:extLst>
          </p:cNvPr>
          <p:cNvSpPr/>
          <p:nvPr/>
        </p:nvSpPr>
        <p:spPr>
          <a:xfrm>
            <a:off x="1094968" y="1148375"/>
            <a:ext cx="1281101" cy="8815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46"/>
            <a:r>
              <a:rPr lang="en-GB" sz="1067" b="1" spc="7" dirty="0">
                <a:solidFill>
                  <a:srgbClr val="001965"/>
                </a:solidFill>
                <a:latin typeface="Novo Apply Sans"/>
              </a:rPr>
              <a:t>Data Science Initiative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4023AB7E-4F86-4F46-965D-C46EF64BDB51}"/>
              </a:ext>
            </a:extLst>
          </p:cNvPr>
          <p:cNvSpPr/>
          <p:nvPr/>
        </p:nvSpPr>
        <p:spPr>
          <a:xfrm>
            <a:off x="4242862" y="1148375"/>
            <a:ext cx="1281101" cy="8815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46"/>
            <a:r>
              <a:rPr lang="en-GB" sz="1067" b="1" spc="7" dirty="0">
                <a:solidFill>
                  <a:srgbClr val="001965"/>
                </a:solidFill>
                <a:latin typeface="Novo Apply Sans"/>
              </a:rPr>
              <a:t>Plant Science, Agriculture and Food Biotechnology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78D1AE29-A103-43C8-A7AD-0121F915280A}"/>
              </a:ext>
            </a:extLst>
          </p:cNvPr>
          <p:cNvSpPr/>
          <p:nvPr/>
        </p:nvSpPr>
        <p:spPr>
          <a:xfrm>
            <a:off x="5831721" y="1148375"/>
            <a:ext cx="1281101" cy="8815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46"/>
            <a:r>
              <a:rPr lang="en-GB" sz="1067" b="1" spc="7" dirty="0">
                <a:solidFill>
                  <a:srgbClr val="001965"/>
                </a:solidFill>
                <a:latin typeface="Novo Apply Sans"/>
              </a:rPr>
              <a:t>Natural and Technical Sciences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FE1D6801-E86A-4C75-B031-61F66EB4BC07}"/>
              </a:ext>
            </a:extLst>
          </p:cNvPr>
          <p:cNvSpPr/>
          <p:nvPr/>
        </p:nvSpPr>
        <p:spPr>
          <a:xfrm>
            <a:off x="7420580" y="1148375"/>
            <a:ext cx="1281101" cy="8815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46"/>
            <a:r>
              <a:rPr lang="en-GB" sz="1067" b="1" spc="7" dirty="0">
                <a:solidFill>
                  <a:srgbClr val="001965"/>
                </a:solidFill>
                <a:latin typeface="Novo Apply Sans"/>
              </a:rPr>
              <a:t>Bioscience &amp; Basic Biomedicine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32052CC3-892A-4F8A-AD52-3FA70746ACE8}"/>
              </a:ext>
            </a:extLst>
          </p:cNvPr>
          <p:cNvSpPr/>
          <p:nvPr/>
        </p:nvSpPr>
        <p:spPr>
          <a:xfrm>
            <a:off x="9009438" y="1148375"/>
            <a:ext cx="1281101" cy="8815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46"/>
            <a:r>
              <a:rPr lang="en-GB" sz="1067" b="1" spc="7" dirty="0">
                <a:solidFill>
                  <a:srgbClr val="001965"/>
                </a:solidFill>
                <a:latin typeface="Novo Apply Sans"/>
              </a:rPr>
              <a:t>Endocrinology &amp; Metabolism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A28A102F-A0C0-4298-A99B-9CDD9A7D6CDC}"/>
              </a:ext>
            </a:extLst>
          </p:cNvPr>
          <p:cNvSpPr/>
          <p:nvPr/>
        </p:nvSpPr>
        <p:spPr>
          <a:xfrm>
            <a:off x="10598297" y="1148375"/>
            <a:ext cx="1281101" cy="8815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46"/>
            <a:r>
              <a:rPr lang="en-GB" sz="1067" b="1" spc="7" dirty="0">
                <a:solidFill>
                  <a:srgbClr val="001965"/>
                </a:solidFill>
                <a:latin typeface="Novo Apply Sans"/>
              </a:rPr>
              <a:t>Clinical &amp; Translational Medicine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2485632B-1372-4A3E-A467-737120F18ADB}"/>
              </a:ext>
            </a:extLst>
          </p:cNvPr>
          <p:cNvSpPr/>
          <p:nvPr/>
        </p:nvSpPr>
        <p:spPr>
          <a:xfrm>
            <a:off x="171191" y="2125649"/>
            <a:ext cx="700803" cy="769951"/>
          </a:xfrm>
          <a:prstGeom prst="rect">
            <a:avLst/>
          </a:prstGeom>
          <a:solidFill>
            <a:srgbClr val="BCD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46"/>
            <a:r>
              <a:rPr lang="en-GB" sz="800" b="1" spc="7" dirty="0">
                <a:solidFill>
                  <a:srgbClr val="FFFFFF"/>
                </a:solidFill>
                <a:latin typeface="Novo Apply Sans"/>
              </a:rPr>
              <a:t>Large Collaborative Grants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330ED336-8C56-4A69-9681-153FAE638EAF}"/>
              </a:ext>
            </a:extLst>
          </p:cNvPr>
          <p:cNvSpPr/>
          <p:nvPr/>
        </p:nvSpPr>
        <p:spPr>
          <a:xfrm>
            <a:off x="171191" y="3021255"/>
            <a:ext cx="700803" cy="381327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46"/>
            <a:r>
              <a:rPr lang="en-GB" sz="800" b="1" spc="7" dirty="0">
                <a:solidFill>
                  <a:srgbClr val="FFFFFF"/>
                </a:solidFill>
                <a:latin typeface="Novo Apply Sans"/>
              </a:rPr>
              <a:t>Project Grants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B9E0EAF2-E950-4E97-98F2-676E0C3C6C14}"/>
              </a:ext>
            </a:extLst>
          </p:cNvPr>
          <p:cNvSpPr/>
          <p:nvPr/>
        </p:nvSpPr>
        <p:spPr>
          <a:xfrm>
            <a:off x="171191" y="3535011"/>
            <a:ext cx="700803" cy="504488"/>
          </a:xfrm>
          <a:prstGeom prst="rect">
            <a:avLst/>
          </a:prstGeom>
          <a:solidFill>
            <a:srgbClr val="BCD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46"/>
            <a:r>
              <a:rPr lang="en-GB" sz="800" b="1" spc="7" dirty="0">
                <a:solidFill>
                  <a:srgbClr val="FFFFFF"/>
                </a:solidFill>
                <a:latin typeface="Novo Apply Sans"/>
              </a:rPr>
              <a:t>Research Career Programmes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AEAFFEC6-F7C5-4CEA-89CB-D382F48F37AD}"/>
              </a:ext>
            </a:extLst>
          </p:cNvPr>
          <p:cNvSpPr/>
          <p:nvPr/>
        </p:nvSpPr>
        <p:spPr>
          <a:xfrm>
            <a:off x="171191" y="4174375"/>
            <a:ext cx="700803" cy="50448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46"/>
            <a:r>
              <a:rPr lang="en-GB" sz="800" b="1" spc="7" dirty="0">
                <a:solidFill>
                  <a:srgbClr val="FFFFFF"/>
                </a:solidFill>
                <a:latin typeface="Novo Apply Sans"/>
              </a:rPr>
              <a:t>Recruitment Programmes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0FF78307-0A08-40DE-BC28-168F5175B439}"/>
              </a:ext>
            </a:extLst>
          </p:cNvPr>
          <p:cNvSpPr/>
          <p:nvPr/>
        </p:nvSpPr>
        <p:spPr>
          <a:xfrm>
            <a:off x="171191" y="4806966"/>
            <a:ext cx="700803" cy="381327"/>
          </a:xfrm>
          <a:prstGeom prst="rect">
            <a:avLst/>
          </a:prstGeom>
          <a:solidFill>
            <a:srgbClr val="7399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46"/>
            <a:r>
              <a:rPr lang="en-GB" sz="800" b="1" spc="7" dirty="0">
                <a:solidFill>
                  <a:srgbClr val="FFFFFF"/>
                </a:solidFill>
                <a:latin typeface="Novo Apply Sans"/>
              </a:rPr>
              <a:t>Infrastructure Grants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DE2B4D3B-24EC-4DEE-AE95-D1EBDF5976BA}"/>
              </a:ext>
            </a:extLst>
          </p:cNvPr>
          <p:cNvSpPr/>
          <p:nvPr/>
        </p:nvSpPr>
        <p:spPr>
          <a:xfrm>
            <a:off x="171191" y="5305631"/>
            <a:ext cx="700803" cy="379216"/>
          </a:xfrm>
          <a:prstGeom prst="rect">
            <a:avLst/>
          </a:prstGeom>
          <a:solidFill>
            <a:schemeClr val="accent3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46"/>
            <a:r>
              <a:rPr lang="en-GB" sz="800" b="1" spc="7" dirty="0">
                <a:solidFill>
                  <a:srgbClr val="FFFFFF"/>
                </a:solidFill>
                <a:latin typeface="Novo Apply Sans"/>
              </a:rPr>
              <a:t>Clinical Trials 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393B4EE5-52D0-4D6B-8E14-10799B0A49A7}"/>
              </a:ext>
            </a:extLst>
          </p:cNvPr>
          <p:cNvSpPr/>
          <p:nvPr/>
        </p:nvSpPr>
        <p:spPr>
          <a:xfrm>
            <a:off x="171191" y="5791539"/>
            <a:ext cx="700803" cy="38132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46"/>
            <a:r>
              <a:rPr lang="en-GB" sz="800" b="1" spc="7" dirty="0">
                <a:solidFill>
                  <a:srgbClr val="FFFFFF"/>
                </a:solidFill>
                <a:latin typeface="Novo Apply Sans"/>
              </a:rPr>
              <a:t>Innovation Grants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A5238E3E-A306-4347-8735-89EB8C436AB0}"/>
              </a:ext>
            </a:extLst>
          </p:cNvPr>
          <p:cNvSpPr/>
          <p:nvPr/>
        </p:nvSpPr>
        <p:spPr>
          <a:xfrm>
            <a:off x="10595154" y="2129214"/>
            <a:ext cx="1290530" cy="180047"/>
          </a:xfrm>
          <a:prstGeom prst="rect">
            <a:avLst/>
          </a:prstGeom>
          <a:solidFill>
            <a:srgbClr val="6675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46"/>
            <a:r>
              <a:rPr lang="en-GB" sz="933" b="1" spc="7" dirty="0">
                <a:solidFill>
                  <a:srgbClr val="FFFFFF"/>
                </a:solidFill>
                <a:latin typeface="Novo Apply Sans"/>
              </a:rPr>
              <a:t>Tandem</a:t>
            </a:r>
            <a:endParaRPr lang="en-GB" sz="1200" b="1" spc="7" dirty="0">
              <a:solidFill>
                <a:srgbClr val="FFFFFF"/>
              </a:solidFill>
              <a:latin typeface="Novo Apply Sans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DE4E2E05-94E5-4935-B8CC-7B2068CFBA6E}"/>
              </a:ext>
            </a:extLst>
          </p:cNvPr>
          <p:cNvSpPr/>
          <p:nvPr/>
        </p:nvSpPr>
        <p:spPr>
          <a:xfrm>
            <a:off x="2654003" y="2396458"/>
            <a:ext cx="9231681" cy="192000"/>
          </a:xfrm>
          <a:prstGeom prst="rect">
            <a:avLst/>
          </a:prstGeom>
          <a:solidFill>
            <a:srgbClr val="BCD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46"/>
            <a:r>
              <a:rPr lang="en-GB" sz="933" b="1" spc="7" dirty="0">
                <a:solidFill>
                  <a:srgbClr val="FFFFFF"/>
                </a:solidFill>
                <a:latin typeface="Novo Apply Sans"/>
              </a:rPr>
              <a:t>Challenge Programmes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5877856F-31EC-47A6-9F20-A64483AE70E9}"/>
              </a:ext>
            </a:extLst>
          </p:cNvPr>
          <p:cNvSpPr/>
          <p:nvPr/>
        </p:nvSpPr>
        <p:spPr>
          <a:xfrm>
            <a:off x="1094967" y="2125649"/>
            <a:ext cx="1287387" cy="192000"/>
          </a:xfrm>
          <a:prstGeom prst="rect">
            <a:avLst/>
          </a:prstGeom>
          <a:solidFill>
            <a:srgbClr val="BCD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46"/>
            <a:r>
              <a:rPr lang="en-GB" sz="933" b="1" spc="7" dirty="0">
                <a:solidFill>
                  <a:srgbClr val="FFFFFF"/>
                </a:solidFill>
                <a:latin typeface="Novo Apply Sans"/>
              </a:rPr>
              <a:t>Collaborative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BB4EB504-65F9-4F15-A6BD-221290CDD169}"/>
              </a:ext>
            </a:extLst>
          </p:cNvPr>
          <p:cNvSpPr/>
          <p:nvPr/>
        </p:nvSpPr>
        <p:spPr>
          <a:xfrm>
            <a:off x="1094968" y="2675656"/>
            <a:ext cx="10792693" cy="219945"/>
          </a:xfrm>
          <a:prstGeom prst="rect">
            <a:avLst/>
          </a:prstGeom>
          <a:solidFill>
            <a:srgbClr val="BCD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46"/>
            <a:r>
              <a:rPr lang="en-GB" sz="933" b="1" spc="7" dirty="0">
                <a:solidFill>
                  <a:srgbClr val="FFFFFF"/>
                </a:solidFill>
                <a:latin typeface="Novo Apply Sans"/>
              </a:rPr>
              <a:t>Interdisciplinary Synergy Programmes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6E5FE133-8B6C-4BA8-B815-443C5686EC81}"/>
              </a:ext>
            </a:extLst>
          </p:cNvPr>
          <p:cNvSpPr/>
          <p:nvPr/>
        </p:nvSpPr>
        <p:spPr>
          <a:xfrm>
            <a:off x="2645740" y="3097095"/>
            <a:ext cx="9231681" cy="192000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46"/>
            <a:r>
              <a:rPr lang="en-GB" sz="933" b="1" spc="7" dirty="0">
                <a:solidFill>
                  <a:srgbClr val="FFFFFF"/>
                </a:solidFill>
                <a:latin typeface="Novo Apply Sans"/>
              </a:rPr>
              <a:t>Project Grants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F4C65E8B-9912-4765-8B62-BFD90C278651}"/>
              </a:ext>
            </a:extLst>
          </p:cNvPr>
          <p:cNvSpPr/>
          <p:nvPr/>
        </p:nvSpPr>
        <p:spPr>
          <a:xfrm>
            <a:off x="1108370" y="3542605"/>
            <a:ext cx="4428994" cy="192000"/>
          </a:xfrm>
          <a:prstGeom prst="rect">
            <a:avLst/>
          </a:prstGeom>
          <a:solidFill>
            <a:srgbClr val="8E73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46"/>
            <a:r>
              <a:rPr lang="en-GB" sz="933" b="1" spc="7" dirty="0">
                <a:solidFill>
                  <a:srgbClr val="FFFFFF"/>
                </a:solidFill>
                <a:latin typeface="Novo Apply Sans"/>
              </a:rPr>
              <a:t>Investigator Grants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7A5144D4-1C11-4196-9A55-FA7EDBB4587C}"/>
              </a:ext>
            </a:extLst>
          </p:cNvPr>
          <p:cNvSpPr/>
          <p:nvPr/>
        </p:nvSpPr>
        <p:spPr>
          <a:xfrm>
            <a:off x="7440267" y="3542605"/>
            <a:ext cx="4465104" cy="192000"/>
          </a:xfrm>
          <a:prstGeom prst="rect">
            <a:avLst/>
          </a:prstGeom>
          <a:solidFill>
            <a:srgbClr val="8E73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46"/>
            <a:r>
              <a:rPr lang="en-GB" sz="933" b="1" spc="7" dirty="0">
                <a:solidFill>
                  <a:srgbClr val="FFFFFF"/>
                </a:solidFill>
                <a:latin typeface="Novo Apply Sans"/>
              </a:rPr>
              <a:t>Investigator Grants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FB201A66-D4D9-41FA-89DB-13A6ACD8F455}"/>
              </a:ext>
            </a:extLst>
          </p:cNvPr>
          <p:cNvSpPr/>
          <p:nvPr/>
        </p:nvSpPr>
        <p:spPr>
          <a:xfrm>
            <a:off x="5832550" y="3542605"/>
            <a:ext cx="1287387" cy="192000"/>
          </a:xfrm>
          <a:prstGeom prst="rect">
            <a:avLst/>
          </a:prstGeom>
          <a:solidFill>
            <a:srgbClr val="BCD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46"/>
            <a:r>
              <a:rPr lang="en-GB" sz="933" b="1" spc="7" dirty="0">
                <a:solidFill>
                  <a:srgbClr val="FFFFFF"/>
                </a:solidFill>
                <a:latin typeface="Novo Apply Sans"/>
              </a:rPr>
              <a:t>NERD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4EFD97F8-9592-4008-AB50-CC76CBDBBE99}"/>
              </a:ext>
            </a:extLst>
          </p:cNvPr>
          <p:cNvSpPr/>
          <p:nvPr/>
        </p:nvSpPr>
        <p:spPr>
          <a:xfrm>
            <a:off x="1108371" y="4188364"/>
            <a:ext cx="10783599" cy="192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46"/>
            <a:r>
              <a:rPr lang="en-GB" sz="933" b="1" spc="7" dirty="0">
                <a:solidFill>
                  <a:srgbClr val="FFFFFF"/>
                </a:solidFill>
                <a:latin typeface="Novo Apply Sans"/>
              </a:rPr>
              <a:t>Start Package Grants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FCF2B5A3-A992-430D-9145-B8ED805D0A97}"/>
              </a:ext>
            </a:extLst>
          </p:cNvPr>
          <p:cNvSpPr/>
          <p:nvPr/>
        </p:nvSpPr>
        <p:spPr>
          <a:xfrm>
            <a:off x="2535388" y="4471895"/>
            <a:ext cx="3036202" cy="19406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46"/>
            <a:r>
              <a:rPr lang="en-GB" sz="933" b="1" spc="7" dirty="0">
                <a:solidFill>
                  <a:srgbClr val="FFFFFF"/>
                </a:solidFill>
                <a:latin typeface="Novo Apply Sans"/>
              </a:rPr>
              <a:t>Young Investigator Awards and Laureate Research Grants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64A223DE-8E6F-44DE-90C0-4857A77E0E67}"/>
              </a:ext>
            </a:extLst>
          </p:cNvPr>
          <p:cNvSpPr/>
          <p:nvPr/>
        </p:nvSpPr>
        <p:spPr>
          <a:xfrm>
            <a:off x="7426865" y="4473951"/>
            <a:ext cx="4465104" cy="18995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46"/>
            <a:r>
              <a:rPr lang="en-GB" sz="933" b="1" spc="7" dirty="0">
                <a:solidFill>
                  <a:srgbClr val="FFFFFF"/>
                </a:solidFill>
                <a:latin typeface="Novo Apply Sans"/>
              </a:rPr>
              <a:t>Young Investigator Awards and Laureate Research Grants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18A5A29F-E387-4364-B865-DFD47CD26A35}"/>
              </a:ext>
            </a:extLst>
          </p:cNvPr>
          <p:cNvSpPr/>
          <p:nvPr/>
        </p:nvSpPr>
        <p:spPr>
          <a:xfrm>
            <a:off x="5826423" y="4472929"/>
            <a:ext cx="1287387" cy="192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46"/>
            <a:r>
              <a:rPr lang="en-GB" sz="933" b="1" spc="7" dirty="0">
                <a:solidFill>
                  <a:srgbClr val="FFFFFF"/>
                </a:solidFill>
                <a:latin typeface="Novo Apply Sans"/>
              </a:rPr>
              <a:t>RECRUIT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663669F8-74E1-47A0-8021-2442257D625B}"/>
              </a:ext>
            </a:extLst>
          </p:cNvPr>
          <p:cNvSpPr/>
          <p:nvPr/>
        </p:nvSpPr>
        <p:spPr>
          <a:xfrm>
            <a:off x="5831721" y="4909274"/>
            <a:ext cx="1296919" cy="202400"/>
          </a:xfrm>
          <a:prstGeom prst="rect">
            <a:avLst/>
          </a:prstGeom>
          <a:solidFill>
            <a:srgbClr val="7399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46"/>
            <a:r>
              <a:rPr lang="en-GB" sz="933" b="1" spc="7" dirty="0">
                <a:solidFill>
                  <a:srgbClr val="FFFFFF"/>
                </a:solidFill>
                <a:latin typeface="Novo Apply Sans"/>
              </a:rPr>
              <a:t>Infrastructure Grants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990F8952-A11E-4272-BFF8-A752AD01D012}"/>
              </a:ext>
            </a:extLst>
          </p:cNvPr>
          <p:cNvSpPr/>
          <p:nvPr/>
        </p:nvSpPr>
        <p:spPr>
          <a:xfrm>
            <a:off x="1108370" y="4919674"/>
            <a:ext cx="1267698" cy="192000"/>
          </a:xfrm>
          <a:prstGeom prst="rect">
            <a:avLst/>
          </a:prstGeom>
          <a:solidFill>
            <a:srgbClr val="7399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46"/>
            <a:r>
              <a:rPr lang="en-GB" sz="933" b="1" spc="7" dirty="0">
                <a:solidFill>
                  <a:srgbClr val="FFFFFF"/>
                </a:solidFill>
                <a:latin typeface="Novo Apply Sans"/>
              </a:rPr>
              <a:t>Infrastructure Grants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5C18466A-22D1-45E0-B678-8F7D4F70E196}"/>
              </a:ext>
            </a:extLst>
          </p:cNvPr>
          <p:cNvSpPr/>
          <p:nvPr/>
        </p:nvSpPr>
        <p:spPr>
          <a:xfrm>
            <a:off x="10595153" y="5363809"/>
            <a:ext cx="1287387" cy="192000"/>
          </a:xfrm>
          <a:prstGeom prst="rect">
            <a:avLst/>
          </a:prstGeom>
          <a:solidFill>
            <a:schemeClr val="accent3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46"/>
            <a:r>
              <a:rPr lang="en-GB" sz="933" b="1" spc="7" dirty="0">
                <a:solidFill>
                  <a:srgbClr val="FFFFFF"/>
                </a:solidFill>
                <a:latin typeface="Novo Apply Sans"/>
              </a:rPr>
              <a:t>Clinical Trials (IICT)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281A2E11-B942-4642-A8AC-6AF496D617C3}"/>
              </a:ext>
            </a:extLst>
          </p:cNvPr>
          <p:cNvSpPr/>
          <p:nvPr/>
        </p:nvSpPr>
        <p:spPr>
          <a:xfrm>
            <a:off x="7418602" y="5886202"/>
            <a:ext cx="4458818" cy="192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46"/>
            <a:r>
              <a:rPr lang="en-GB" sz="933" b="1" spc="7" dirty="0">
                <a:solidFill>
                  <a:srgbClr val="FFFFFF"/>
                </a:solidFill>
                <a:latin typeface="Novo Apply Sans"/>
              </a:rPr>
              <a:t>Innovation Grants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127013B0-F67E-4D10-AE5D-0C8EC2798AB2}"/>
              </a:ext>
            </a:extLst>
          </p:cNvPr>
          <p:cNvSpPr/>
          <p:nvPr/>
        </p:nvSpPr>
        <p:spPr>
          <a:xfrm>
            <a:off x="1119331" y="4472469"/>
            <a:ext cx="1287387" cy="192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46"/>
            <a:r>
              <a:rPr lang="en-GB" sz="933" b="1" spc="7" dirty="0">
                <a:solidFill>
                  <a:srgbClr val="FFFFFF"/>
                </a:solidFill>
                <a:latin typeface="Novo Apply Sans"/>
              </a:rPr>
              <a:t>RECRUIT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E4729012-8551-47CE-9256-D77FC432E399}"/>
              </a:ext>
            </a:extLst>
          </p:cNvPr>
          <p:cNvSpPr/>
          <p:nvPr/>
        </p:nvSpPr>
        <p:spPr>
          <a:xfrm>
            <a:off x="2535387" y="3824007"/>
            <a:ext cx="6299636" cy="212932"/>
          </a:xfrm>
          <a:prstGeom prst="rect">
            <a:avLst/>
          </a:prstGeom>
          <a:solidFill>
            <a:srgbClr val="8E73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46"/>
            <a:r>
              <a:rPr lang="en-GB" sz="933" b="1" spc="7" dirty="0">
                <a:solidFill>
                  <a:srgbClr val="FFFFFF"/>
                </a:solidFill>
                <a:latin typeface="Novo Apply Sans"/>
              </a:rPr>
              <a:t>Postdoc Fellowships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C06AD894-520D-408E-BEBA-C59DD781F2F8}"/>
              </a:ext>
            </a:extLst>
          </p:cNvPr>
          <p:cNvSpPr/>
          <p:nvPr/>
        </p:nvSpPr>
        <p:spPr>
          <a:xfrm>
            <a:off x="2617307" y="5886202"/>
            <a:ext cx="1369399" cy="192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46"/>
            <a:r>
              <a:rPr lang="en-GB" sz="933" b="1" spc="7" dirty="0">
                <a:solidFill>
                  <a:srgbClr val="FFFFFF"/>
                </a:solidFill>
                <a:latin typeface="Novo Apply Sans"/>
              </a:rPr>
              <a:t>Innovation Grants</a:t>
            </a:r>
          </a:p>
        </p:txBody>
      </p:sp>
    </p:spTree>
    <p:extLst>
      <p:ext uri="{BB962C8B-B14F-4D97-AF65-F5344CB8AC3E}">
        <p14:creationId xmlns:p14="http://schemas.microsoft.com/office/powerpoint/2010/main" val="24754236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54505638417718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jxpl\AppData\Local\Temp\Templafy\PowerPointVsto\Assets\8c5f751e-15c1-4329-b79a-37e2f02aaae6.jpe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CtLapPybBpdLRZXvPJb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8_Blank">
  <a:themeElements>
    <a:clrScheme name="Novo Nordisk Fonden">
      <a:dk1>
        <a:srgbClr val="000000"/>
      </a:dk1>
      <a:lt1>
        <a:srgbClr val="FFFFFF"/>
      </a:lt1>
      <a:dk2>
        <a:srgbClr val="001965"/>
      </a:dk2>
      <a:lt2>
        <a:srgbClr val="D9D9D9"/>
      </a:lt2>
      <a:accent1>
        <a:srgbClr val="001965"/>
      </a:accent1>
      <a:accent2>
        <a:srgbClr val="6675A2"/>
      </a:accent2>
      <a:accent3>
        <a:srgbClr val="F0CDB4"/>
      </a:accent3>
      <a:accent4>
        <a:srgbClr val="00464B"/>
      </a:accent4>
      <a:accent5>
        <a:srgbClr val="668F92"/>
      </a:accent5>
      <a:accent6>
        <a:srgbClr val="310024"/>
      </a:accent6>
      <a:hlink>
        <a:srgbClr val="848484"/>
      </a:hlink>
      <a:folHlink>
        <a:srgbClr val="AFAFAF"/>
      </a:folHlink>
    </a:clrScheme>
    <a:fontScheme name="Novo Nordisk Fonden">
      <a:majorFont>
        <a:latin typeface="Novo Apply Sans"/>
        <a:ea typeface=""/>
        <a:cs typeface=""/>
      </a:majorFont>
      <a:minorFont>
        <a:latin typeface="Novo Apply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400" spc="1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107000"/>
          </a:lnSpc>
          <a:spcAft>
            <a:spcPts val="600"/>
          </a:spcAft>
          <a:defRPr sz="2400" spc="10" smtClean="0">
            <a:solidFill>
              <a:schemeClr val="tx2"/>
            </a:solidFill>
            <a:latin typeface="Novo Apply Sans" panose="020B0503030000000000" pitchFamily="34" charset="0"/>
          </a:defRPr>
        </a:defPPr>
      </a:lstStyle>
    </a:txDef>
  </a:objectDefaults>
  <a:extraClrSchemeLst/>
  <a:custClrLst>
    <a:custClr name="Novo Blue">
      <a:srgbClr val="001965"/>
    </a:custClr>
    <a:custClr name="Warm Sand">
      <a:srgbClr val="F0CDB4"/>
    </a:custClr>
    <a:custClr name="Petroleum">
      <a:srgbClr val="00464B"/>
    </a:custClr>
    <a:custClr name="Dark Purple">
      <a:srgbClr val="310024"/>
    </a:custClr>
    <a:custClr name="Bright green">
      <a:srgbClr val="BCDB00"/>
    </a:custClr>
    <a:custClr name="Bright yellow">
      <a:srgbClr val="FFD13C"/>
    </a:custClr>
    <a:custClr name="Crimeson red">
      <a:srgbClr val="CD164B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Novo Light Blue">
      <a:srgbClr val="6675A2"/>
    </a:custClr>
    <a:custClr name="Color has no name">
      <a:srgbClr val="F7E3D6"/>
    </a:custClr>
    <a:custClr name="Color has no name">
      <a:srgbClr val="73999C"/>
    </a:custClr>
    <a:custClr name="Color has no name">
      <a:srgbClr val="8E7387"/>
    </a:custClr>
    <a:custClr name="Color has no name">
      <a:srgbClr val="DAEB73"/>
    </a:custClr>
    <a:custClr name="Color has no name">
      <a:srgbClr val="FFE694"/>
    </a:custClr>
    <a:custClr name="Color has no name">
      <a:srgbClr val="FC7F9C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BFC5D8"/>
    </a:custClr>
    <a:custClr name="Color has no name">
      <a:srgbClr val="FBF2EC"/>
    </a:custClr>
    <a:custClr name="Color has no name">
      <a:srgbClr val="BFD1D2"/>
    </a:custClr>
    <a:custClr name="Color has no name">
      <a:srgbClr val="CBBFC8"/>
    </a:custClr>
    <a:custClr name="Color has no name">
      <a:srgbClr val="EEF6BF"/>
    </a:custClr>
    <a:custClr name="Color has no name">
      <a:srgbClr val="FFF3CE"/>
    </a:custClr>
    <a:custClr name="Color has no name">
      <a:srgbClr val="FCC5D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E5E8F0"/>
    </a:custClr>
    <a:custClr name="Color has no name">
      <a:srgbClr val="FDFAF7"/>
    </a:custClr>
    <a:custClr name="Color has no name">
      <a:srgbClr val="E5ECED"/>
    </a:custClr>
    <a:custClr name="Color has no name">
      <a:srgbClr val="EAE5E9"/>
    </a:custClr>
    <a:custClr name="Color has no name">
      <a:srgbClr val="F8FBE5"/>
    </a:custClr>
    <a:custClr name="Color has no name">
      <a:srgbClr val="FFFAEB"/>
    </a:custClr>
    <a:custClr name="Color has no name">
      <a:srgbClr val="FEE8ED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</a:custClrLst>
  <a:extLst>
    <a:ext uri="{05A4C25C-085E-4340-85A3-A5531E510DB2}">
      <thm15:themeFamily xmlns:thm15="http://schemas.microsoft.com/office/thememl/2012/main" name="Blank.potx" id="{F1F144ED-39A2-4FC9-B6BC-71E2928B5AC0}" vid="{BB83120C-D51A-4A67-AA09-CF0504509400}"/>
    </a:ext>
  </a:extLst>
</a:theme>
</file>

<file path=ppt/theme/theme11.xml><?xml version="1.0" encoding="utf-8"?>
<a:theme xmlns:a="http://schemas.openxmlformats.org/drawingml/2006/main" name="9_Blank">
  <a:themeElements>
    <a:clrScheme name="Novo Nordisk Fonden">
      <a:dk1>
        <a:srgbClr val="000000"/>
      </a:dk1>
      <a:lt1>
        <a:srgbClr val="FFFFFF"/>
      </a:lt1>
      <a:dk2>
        <a:srgbClr val="001965"/>
      </a:dk2>
      <a:lt2>
        <a:srgbClr val="D9D9D9"/>
      </a:lt2>
      <a:accent1>
        <a:srgbClr val="001965"/>
      </a:accent1>
      <a:accent2>
        <a:srgbClr val="6675A2"/>
      </a:accent2>
      <a:accent3>
        <a:srgbClr val="F0CDB4"/>
      </a:accent3>
      <a:accent4>
        <a:srgbClr val="00464B"/>
      </a:accent4>
      <a:accent5>
        <a:srgbClr val="668F92"/>
      </a:accent5>
      <a:accent6>
        <a:srgbClr val="310024"/>
      </a:accent6>
      <a:hlink>
        <a:srgbClr val="848484"/>
      </a:hlink>
      <a:folHlink>
        <a:srgbClr val="AFAFAF"/>
      </a:folHlink>
    </a:clrScheme>
    <a:fontScheme name="Novo Nordisk Fonden">
      <a:majorFont>
        <a:latin typeface="Novo Apply Sans"/>
        <a:ea typeface=""/>
        <a:cs typeface=""/>
      </a:majorFont>
      <a:minorFont>
        <a:latin typeface="Novo Apply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400" spc="1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107000"/>
          </a:lnSpc>
          <a:spcAft>
            <a:spcPts val="600"/>
          </a:spcAft>
          <a:defRPr sz="2400" spc="10" smtClean="0">
            <a:solidFill>
              <a:schemeClr val="tx2"/>
            </a:solidFill>
            <a:latin typeface="Novo Apply Sans" panose="020B0503030000000000" pitchFamily="34" charset="0"/>
          </a:defRPr>
        </a:defPPr>
      </a:lstStyle>
    </a:txDef>
  </a:objectDefaults>
  <a:extraClrSchemeLst/>
  <a:custClrLst>
    <a:custClr name="Novo Blue">
      <a:srgbClr val="001965"/>
    </a:custClr>
    <a:custClr name="Warm Sand">
      <a:srgbClr val="F0CDB4"/>
    </a:custClr>
    <a:custClr name="Petroleum">
      <a:srgbClr val="00464B"/>
    </a:custClr>
    <a:custClr name="Dark Purple">
      <a:srgbClr val="310024"/>
    </a:custClr>
    <a:custClr name="Bright green">
      <a:srgbClr val="BCDB00"/>
    </a:custClr>
    <a:custClr name="Bright yellow">
      <a:srgbClr val="FFD13C"/>
    </a:custClr>
    <a:custClr name="Crimeson red">
      <a:srgbClr val="CD164B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Novo Light Blue">
      <a:srgbClr val="6675A2"/>
    </a:custClr>
    <a:custClr name="Color has no name">
      <a:srgbClr val="F7E3D6"/>
    </a:custClr>
    <a:custClr name="Color has no name">
      <a:srgbClr val="73999C"/>
    </a:custClr>
    <a:custClr name="Color has no name">
      <a:srgbClr val="8E7387"/>
    </a:custClr>
    <a:custClr name="Color has no name">
      <a:srgbClr val="DAEB73"/>
    </a:custClr>
    <a:custClr name="Color has no name">
      <a:srgbClr val="FFE694"/>
    </a:custClr>
    <a:custClr name="Color has no name">
      <a:srgbClr val="FC7F9C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BFC5D8"/>
    </a:custClr>
    <a:custClr name="Color has no name">
      <a:srgbClr val="FBF2EC"/>
    </a:custClr>
    <a:custClr name="Color has no name">
      <a:srgbClr val="BFD1D2"/>
    </a:custClr>
    <a:custClr name="Color has no name">
      <a:srgbClr val="CBBFC8"/>
    </a:custClr>
    <a:custClr name="Color has no name">
      <a:srgbClr val="EEF6BF"/>
    </a:custClr>
    <a:custClr name="Color has no name">
      <a:srgbClr val="FFF3CE"/>
    </a:custClr>
    <a:custClr name="Color has no name">
      <a:srgbClr val="FCC5D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E5E8F0"/>
    </a:custClr>
    <a:custClr name="Color has no name">
      <a:srgbClr val="FDFAF7"/>
    </a:custClr>
    <a:custClr name="Color has no name">
      <a:srgbClr val="E5ECED"/>
    </a:custClr>
    <a:custClr name="Color has no name">
      <a:srgbClr val="EAE5E9"/>
    </a:custClr>
    <a:custClr name="Color has no name">
      <a:srgbClr val="F8FBE5"/>
    </a:custClr>
    <a:custClr name="Color has no name">
      <a:srgbClr val="FFFAEB"/>
    </a:custClr>
    <a:custClr name="Color has no name">
      <a:srgbClr val="FEE8ED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</a:custClrLst>
  <a:extLst>
    <a:ext uri="{05A4C25C-085E-4340-85A3-A5531E510DB2}">
      <thm15:themeFamily xmlns:thm15="http://schemas.microsoft.com/office/thememl/2012/main" name="Blank.potx" id="{F1F144ED-39A2-4FC9-B6BC-71E2928B5AC0}" vid="{BB83120C-D51A-4A67-AA09-CF0504509400}"/>
    </a:ext>
  </a:extLst>
</a:theme>
</file>

<file path=ppt/theme/theme12.xml><?xml version="1.0" encoding="utf-8"?>
<a:theme xmlns:a="http://schemas.openxmlformats.org/drawingml/2006/main" name="Rückblick">
  <a:themeElements>
    <a:clrScheme name="Rückblick">
      <a:dk1>
        <a:sysClr val="windowText" lastClr="000000"/>
      </a:dk1>
      <a:lt1>
        <a:sysClr val="window" lastClr="FFFFFF"/>
      </a:lt1>
      <a:dk2>
        <a:srgbClr val="344068"/>
      </a:dk2>
      <a:lt2>
        <a:srgbClr val="D9E0E6"/>
      </a:lt2>
      <a:accent1>
        <a:srgbClr val="1CADE4"/>
      </a:accent1>
      <a:accent2>
        <a:srgbClr val="2683C6"/>
      </a:accent2>
      <a:accent3>
        <a:srgbClr val="28C4CC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Rückblick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ückblick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trospect" id="{5F128B03-DCCA-4EEB-AB3B-CF2899314A46}" vid="{9CC26709-368C-4D72-9060-94E5B3FF3CD6}"/>
    </a:ext>
  </a:extLst>
</a:theme>
</file>

<file path=ppt/theme/theme13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lank">
  <a:themeElements>
    <a:clrScheme name="Novo Nordisk Fonden">
      <a:dk1>
        <a:srgbClr val="000000"/>
      </a:dk1>
      <a:lt1>
        <a:srgbClr val="FFFFFF"/>
      </a:lt1>
      <a:dk2>
        <a:srgbClr val="001965"/>
      </a:dk2>
      <a:lt2>
        <a:srgbClr val="D9D9D9"/>
      </a:lt2>
      <a:accent1>
        <a:srgbClr val="001965"/>
      </a:accent1>
      <a:accent2>
        <a:srgbClr val="6675A2"/>
      </a:accent2>
      <a:accent3>
        <a:srgbClr val="F0CDB4"/>
      </a:accent3>
      <a:accent4>
        <a:srgbClr val="00464B"/>
      </a:accent4>
      <a:accent5>
        <a:srgbClr val="668F92"/>
      </a:accent5>
      <a:accent6>
        <a:srgbClr val="310024"/>
      </a:accent6>
      <a:hlink>
        <a:srgbClr val="848484"/>
      </a:hlink>
      <a:folHlink>
        <a:srgbClr val="AFAFAF"/>
      </a:folHlink>
    </a:clrScheme>
    <a:fontScheme name="Novo Nordisk Fonden">
      <a:majorFont>
        <a:latin typeface="Novo Apply Sans"/>
        <a:ea typeface=""/>
        <a:cs typeface=""/>
      </a:majorFont>
      <a:minorFont>
        <a:latin typeface="Novo Apply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400" spc="1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107000"/>
          </a:lnSpc>
          <a:spcAft>
            <a:spcPts val="600"/>
          </a:spcAft>
          <a:defRPr sz="2400" spc="10" smtClean="0">
            <a:solidFill>
              <a:schemeClr val="tx2"/>
            </a:solidFill>
            <a:latin typeface="Novo Apply Sans" panose="020B0503030000000000" pitchFamily="34" charset="0"/>
          </a:defRPr>
        </a:defPPr>
      </a:lstStyle>
    </a:txDef>
  </a:objectDefaults>
  <a:extraClrSchemeLst/>
  <a:custClrLst>
    <a:custClr name="Novo Blue">
      <a:srgbClr val="001965"/>
    </a:custClr>
    <a:custClr name="Warm Sand">
      <a:srgbClr val="F0CDB4"/>
    </a:custClr>
    <a:custClr name="Petroleum">
      <a:srgbClr val="00464B"/>
    </a:custClr>
    <a:custClr name="Dark Purple">
      <a:srgbClr val="310024"/>
    </a:custClr>
    <a:custClr name="Bright green">
      <a:srgbClr val="BCDB00"/>
    </a:custClr>
    <a:custClr name="Bright yellow">
      <a:srgbClr val="FFD13C"/>
    </a:custClr>
    <a:custClr name="Crimeson red">
      <a:srgbClr val="CD164B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Novo Light Blue">
      <a:srgbClr val="6675A2"/>
    </a:custClr>
    <a:custClr name="Color has no name">
      <a:srgbClr val="F7E3D6"/>
    </a:custClr>
    <a:custClr name="Color has no name">
      <a:srgbClr val="73999C"/>
    </a:custClr>
    <a:custClr name="Color has no name">
      <a:srgbClr val="8E7387"/>
    </a:custClr>
    <a:custClr name="Color has no name">
      <a:srgbClr val="DAEB73"/>
    </a:custClr>
    <a:custClr name="Color has no name">
      <a:srgbClr val="FFE694"/>
    </a:custClr>
    <a:custClr name="Color has no name">
      <a:srgbClr val="FC7F9C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BFC5D8"/>
    </a:custClr>
    <a:custClr name="Color has no name">
      <a:srgbClr val="FBF2EC"/>
    </a:custClr>
    <a:custClr name="Color has no name">
      <a:srgbClr val="BFD1D2"/>
    </a:custClr>
    <a:custClr name="Color has no name">
      <a:srgbClr val="CBBFC8"/>
    </a:custClr>
    <a:custClr name="Color has no name">
      <a:srgbClr val="EEF6BF"/>
    </a:custClr>
    <a:custClr name="Color has no name">
      <a:srgbClr val="FFF3CE"/>
    </a:custClr>
    <a:custClr name="Color has no name">
      <a:srgbClr val="FCC5D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E5E8F0"/>
    </a:custClr>
    <a:custClr name="Color has no name">
      <a:srgbClr val="FDFAF7"/>
    </a:custClr>
    <a:custClr name="Color has no name">
      <a:srgbClr val="E5ECED"/>
    </a:custClr>
    <a:custClr name="Color has no name">
      <a:srgbClr val="EAE5E9"/>
    </a:custClr>
    <a:custClr name="Color has no name">
      <a:srgbClr val="F8FBE5"/>
    </a:custClr>
    <a:custClr name="Color has no name">
      <a:srgbClr val="FFFAEB"/>
    </a:custClr>
    <a:custClr name="Color has no name">
      <a:srgbClr val="FEE8ED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</a:custClrLst>
  <a:extLst>
    <a:ext uri="{05A4C25C-085E-4340-85A3-A5531E510DB2}">
      <thm15:themeFamily xmlns:thm15="http://schemas.microsoft.com/office/thememl/2012/main" name="Blank.potx" id="{F1F144ED-39A2-4FC9-B6BC-71E2928B5AC0}" vid="{BB83120C-D51A-4A67-AA09-CF0504509400}"/>
    </a:ext>
  </a:extLst>
</a:theme>
</file>

<file path=ppt/theme/theme3.xml><?xml version="1.0" encoding="utf-8"?>
<a:theme xmlns:a="http://schemas.openxmlformats.org/drawingml/2006/main" name="1_Blank">
  <a:themeElements>
    <a:clrScheme name="Novo Nordisk Fonden">
      <a:dk1>
        <a:srgbClr val="000000"/>
      </a:dk1>
      <a:lt1>
        <a:srgbClr val="FFFFFF"/>
      </a:lt1>
      <a:dk2>
        <a:srgbClr val="001965"/>
      </a:dk2>
      <a:lt2>
        <a:srgbClr val="D9D9D9"/>
      </a:lt2>
      <a:accent1>
        <a:srgbClr val="001965"/>
      </a:accent1>
      <a:accent2>
        <a:srgbClr val="6675A2"/>
      </a:accent2>
      <a:accent3>
        <a:srgbClr val="F0CDB4"/>
      </a:accent3>
      <a:accent4>
        <a:srgbClr val="00464B"/>
      </a:accent4>
      <a:accent5>
        <a:srgbClr val="668F92"/>
      </a:accent5>
      <a:accent6>
        <a:srgbClr val="310024"/>
      </a:accent6>
      <a:hlink>
        <a:srgbClr val="848484"/>
      </a:hlink>
      <a:folHlink>
        <a:srgbClr val="AFAFAF"/>
      </a:folHlink>
    </a:clrScheme>
    <a:fontScheme name="Novo Nordisk Fonden">
      <a:majorFont>
        <a:latin typeface="Novo Apply Sans"/>
        <a:ea typeface=""/>
        <a:cs typeface=""/>
      </a:majorFont>
      <a:minorFont>
        <a:latin typeface="Novo Apply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400" spc="1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107000"/>
          </a:lnSpc>
          <a:spcAft>
            <a:spcPts val="600"/>
          </a:spcAft>
          <a:defRPr sz="2400" spc="10" smtClean="0">
            <a:solidFill>
              <a:schemeClr val="tx2"/>
            </a:solidFill>
            <a:latin typeface="Novo Apply Sans" panose="020B0503030000000000" pitchFamily="34" charset="0"/>
          </a:defRPr>
        </a:defPPr>
      </a:lstStyle>
    </a:txDef>
  </a:objectDefaults>
  <a:extraClrSchemeLst/>
  <a:custClrLst>
    <a:custClr name="Novo Blue">
      <a:srgbClr val="001965"/>
    </a:custClr>
    <a:custClr name="Warm Sand">
      <a:srgbClr val="F0CDB4"/>
    </a:custClr>
    <a:custClr name="Petroleum">
      <a:srgbClr val="00464B"/>
    </a:custClr>
    <a:custClr name="Dark Purple">
      <a:srgbClr val="310024"/>
    </a:custClr>
    <a:custClr name="Bright green">
      <a:srgbClr val="BCDB00"/>
    </a:custClr>
    <a:custClr name="Bright yellow">
      <a:srgbClr val="FFD13C"/>
    </a:custClr>
    <a:custClr name="Crimeson red">
      <a:srgbClr val="CD164B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Novo Light Blue">
      <a:srgbClr val="6675A2"/>
    </a:custClr>
    <a:custClr name="Color has no name">
      <a:srgbClr val="F7E3D6"/>
    </a:custClr>
    <a:custClr name="Color has no name">
      <a:srgbClr val="73999C"/>
    </a:custClr>
    <a:custClr name="Color has no name">
      <a:srgbClr val="8E7387"/>
    </a:custClr>
    <a:custClr name="Color has no name">
      <a:srgbClr val="DAEB73"/>
    </a:custClr>
    <a:custClr name="Color has no name">
      <a:srgbClr val="FFE694"/>
    </a:custClr>
    <a:custClr name="Color has no name">
      <a:srgbClr val="FC7F9C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BFC5D8"/>
    </a:custClr>
    <a:custClr name="Color has no name">
      <a:srgbClr val="FBF2EC"/>
    </a:custClr>
    <a:custClr name="Color has no name">
      <a:srgbClr val="BFD1D2"/>
    </a:custClr>
    <a:custClr name="Color has no name">
      <a:srgbClr val="CBBFC8"/>
    </a:custClr>
    <a:custClr name="Color has no name">
      <a:srgbClr val="EEF6BF"/>
    </a:custClr>
    <a:custClr name="Color has no name">
      <a:srgbClr val="FFF3CE"/>
    </a:custClr>
    <a:custClr name="Color has no name">
      <a:srgbClr val="FCC5D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E5E8F0"/>
    </a:custClr>
    <a:custClr name="Color has no name">
      <a:srgbClr val="FDFAF7"/>
    </a:custClr>
    <a:custClr name="Color has no name">
      <a:srgbClr val="E5ECED"/>
    </a:custClr>
    <a:custClr name="Color has no name">
      <a:srgbClr val="EAE5E9"/>
    </a:custClr>
    <a:custClr name="Color has no name">
      <a:srgbClr val="F8FBE5"/>
    </a:custClr>
    <a:custClr name="Color has no name">
      <a:srgbClr val="FFFAEB"/>
    </a:custClr>
    <a:custClr name="Color has no name">
      <a:srgbClr val="FEE8ED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</a:custClrLst>
  <a:extLst>
    <a:ext uri="{05A4C25C-085E-4340-85A3-A5531E510DB2}">
      <thm15:themeFamily xmlns:thm15="http://schemas.microsoft.com/office/thememl/2012/main" name="Blank.potx" id="{F1F144ED-39A2-4FC9-B6BC-71E2928B5AC0}" vid="{BB83120C-D51A-4A67-AA09-CF0504509400}"/>
    </a:ext>
  </a:extLst>
</a:theme>
</file>

<file path=ppt/theme/theme4.xml><?xml version="1.0" encoding="utf-8"?>
<a:theme xmlns:a="http://schemas.openxmlformats.org/drawingml/2006/main" name="2_Blank">
  <a:themeElements>
    <a:clrScheme name="Novo Nordisk Fonden">
      <a:dk1>
        <a:srgbClr val="000000"/>
      </a:dk1>
      <a:lt1>
        <a:srgbClr val="FFFFFF"/>
      </a:lt1>
      <a:dk2>
        <a:srgbClr val="001965"/>
      </a:dk2>
      <a:lt2>
        <a:srgbClr val="D9D9D9"/>
      </a:lt2>
      <a:accent1>
        <a:srgbClr val="001965"/>
      </a:accent1>
      <a:accent2>
        <a:srgbClr val="6675A2"/>
      </a:accent2>
      <a:accent3>
        <a:srgbClr val="F0CDB4"/>
      </a:accent3>
      <a:accent4>
        <a:srgbClr val="00464B"/>
      </a:accent4>
      <a:accent5>
        <a:srgbClr val="668F92"/>
      </a:accent5>
      <a:accent6>
        <a:srgbClr val="310024"/>
      </a:accent6>
      <a:hlink>
        <a:srgbClr val="848484"/>
      </a:hlink>
      <a:folHlink>
        <a:srgbClr val="AFAFAF"/>
      </a:folHlink>
    </a:clrScheme>
    <a:fontScheme name="Novo Nordisk Fonden">
      <a:majorFont>
        <a:latin typeface="Novo Apply Sans"/>
        <a:ea typeface=""/>
        <a:cs typeface=""/>
      </a:majorFont>
      <a:minorFont>
        <a:latin typeface="Novo Apply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400" spc="1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107000"/>
          </a:lnSpc>
          <a:spcAft>
            <a:spcPts val="600"/>
          </a:spcAft>
          <a:defRPr sz="2400" spc="10" smtClean="0">
            <a:solidFill>
              <a:schemeClr val="tx2"/>
            </a:solidFill>
            <a:latin typeface="Novo Apply Sans" panose="020B0503030000000000" pitchFamily="34" charset="0"/>
          </a:defRPr>
        </a:defPPr>
      </a:lstStyle>
    </a:txDef>
  </a:objectDefaults>
  <a:extraClrSchemeLst/>
  <a:custClrLst>
    <a:custClr name="Novo Blue">
      <a:srgbClr val="001965"/>
    </a:custClr>
    <a:custClr name="Warm Sand">
      <a:srgbClr val="F0CDB4"/>
    </a:custClr>
    <a:custClr name="Petroleum">
      <a:srgbClr val="00464B"/>
    </a:custClr>
    <a:custClr name="Dark Purple">
      <a:srgbClr val="310024"/>
    </a:custClr>
    <a:custClr name="Bright green">
      <a:srgbClr val="BCDB00"/>
    </a:custClr>
    <a:custClr name="Bright yellow">
      <a:srgbClr val="FFD13C"/>
    </a:custClr>
    <a:custClr name="Crimeson red">
      <a:srgbClr val="CD164B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Novo Light Blue">
      <a:srgbClr val="6675A2"/>
    </a:custClr>
    <a:custClr name="Color has no name">
      <a:srgbClr val="F7E3D6"/>
    </a:custClr>
    <a:custClr name="Color has no name">
      <a:srgbClr val="73999C"/>
    </a:custClr>
    <a:custClr name="Color has no name">
      <a:srgbClr val="8E7387"/>
    </a:custClr>
    <a:custClr name="Color has no name">
      <a:srgbClr val="DAEB73"/>
    </a:custClr>
    <a:custClr name="Color has no name">
      <a:srgbClr val="FFE694"/>
    </a:custClr>
    <a:custClr name="Color has no name">
      <a:srgbClr val="FC7F9C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BFC5D8"/>
    </a:custClr>
    <a:custClr name="Color has no name">
      <a:srgbClr val="FBF2EC"/>
    </a:custClr>
    <a:custClr name="Color has no name">
      <a:srgbClr val="BFD1D2"/>
    </a:custClr>
    <a:custClr name="Color has no name">
      <a:srgbClr val="CBBFC8"/>
    </a:custClr>
    <a:custClr name="Color has no name">
      <a:srgbClr val="EEF6BF"/>
    </a:custClr>
    <a:custClr name="Color has no name">
      <a:srgbClr val="FFF3CE"/>
    </a:custClr>
    <a:custClr name="Color has no name">
      <a:srgbClr val="FCC5D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E5E8F0"/>
    </a:custClr>
    <a:custClr name="Color has no name">
      <a:srgbClr val="FDFAF7"/>
    </a:custClr>
    <a:custClr name="Color has no name">
      <a:srgbClr val="E5ECED"/>
    </a:custClr>
    <a:custClr name="Color has no name">
      <a:srgbClr val="EAE5E9"/>
    </a:custClr>
    <a:custClr name="Color has no name">
      <a:srgbClr val="F8FBE5"/>
    </a:custClr>
    <a:custClr name="Color has no name">
      <a:srgbClr val="FFFAEB"/>
    </a:custClr>
    <a:custClr name="Color has no name">
      <a:srgbClr val="FEE8ED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</a:custClrLst>
  <a:extLst>
    <a:ext uri="{05A4C25C-085E-4340-85A3-A5531E510DB2}">
      <thm15:themeFamily xmlns:thm15="http://schemas.microsoft.com/office/thememl/2012/main" name="Blank.potx" id="{F1F144ED-39A2-4FC9-B6BC-71E2928B5AC0}" vid="{BB83120C-D51A-4A67-AA09-CF0504509400}"/>
    </a:ext>
  </a:extLst>
</a:theme>
</file>

<file path=ppt/theme/theme5.xml><?xml version="1.0" encoding="utf-8"?>
<a:theme xmlns:a="http://schemas.openxmlformats.org/drawingml/2006/main" name="3_Blank">
  <a:themeElements>
    <a:clrScheme name="Novo Nordisk Fonden">
      <a:dk1>
        <a:srgbClr val="000000"/>
      </a:dk1>
      <a:lt1>
        <a:srgbClr val="FFFFFF"/>
      </a:lt1>
      <a:dk2>
        <a:srgbClr val="001965"/>
      </a:dk2>
      <a:lt2>
        <a:srgbClr val="D9D9D9"/>
      </a:lt2>
      <a:accent1>
        <a:srgbClr val="001965"/>
      </a:accent1>
      <a:accent2>
        <a:srgbClr val="6675A2"/>
      </a:accent2>
      <a:accent3>
        <a:srgbClr val="F0CDB4"/>
      </a:accent3>
      <a:accent4>
        <a:srgbClr val="00464B"/>
      </a:accent4>
      <a:accent5>
        <a:srgbClr val="668F92"/>
      </a:accent5>
      <a:accent6>
        <a:srgbClr val="310024"/>
      </a:accent6>
      <a:hlink>
        <a:srgbClr val="848484"/>
      </a:hlink>
      <a:folHlink>
        <a:srgbClr val="AFAFAF"/>
      </a:folHlink>
    </a:clrScheme>
    <a:fontScheme name="Novo Nordisk Fonden">
      <a:majorFont>
        <a:latin typeface="Novo Apply Sans"/>
        <a:ea typeface=""/>
        <a:cs typeface=""/>
      </a:majorFont>
      <a:minorFont>
        <a:latin typeface="Novo Apply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400" spc="1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107000"/>
          </a:lnSpc>
          <a:spcAft>
            <a:spcPts val="600"/>
          </a:spcAft>
          <a:defRPr sz="2400" spc="10" smtClean="0">
            <a:solidFill>
              <a:schemeClr val="tx2"/>
            </a:solidFill>
            <a:latin typeface="Novo Apply Sans" panose="020B0503030000000000" pitchFamily="34" charset="0"/>
          </a:defRPr>
        </a:defPPr>
      </a:lstStyle>
    </a:txDef>
  </a:objectDefaults>
  <a:extraClrSchemeLst/>
  <a:custClrLst>
    <a:custClr name="Novo Blue">
      <a:srgbClr val="001965"/>
    </a:custClr>
    <a:custClr name="Warm Sand">
      <a:srgbClr val="F0CDB4"/>
    </a:custClr>
    <a:custClr name="Petroleum">
      <a:srgbClr val="00464B"/>
    </a:custClr>
    <a:custClr name="Dark Purple">
      <a:srgbClr val="310024"/>
    </a:custClr>
    <a:custClr name="Bright green">
      <a:srgbClr val="BCDB00"/>
    </a:custClr>
    <a:custClr name="Bright yellow">
      <a:srgbClr val="FFD13C"/>
    </a:custClr>
    <a:custClr name="Crimeson red">
      <a:srgbClr val="CD164B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Novo Light Blue">
      <a:srgbClr val="6675A2"/>
    </a:custClr>
    <a:custClr name="Color has no name">
      <a:srgbClr val="F7E3D6"/>
    </a:custClr>
    <a:custClr name="Color has no name">
      <a:srgbClr val="73999C"/>
    </a:custClr>
    <a:custClr name="Color has no name">
      <a:srgbClr val="8E7387"/>
    </a:custClr>
    <a:custClr name="Color has no name">
      <a:srgbClr val="DAEB73"/>
    </a:custClr>
    <a:custClr name="Color has no name">
      <a:srgbClr val="FFE694"/>
    </a:custClr>
    <a:custClr name="Color has no name">
      <a:srgbClr val="FC7F9C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BFC5D8"/>
    </a:custClr>
    <a:custClr name="Color has no name">
      <a:srgbClr val="FBF2EC"/>
    </a:custClr>
    <a:custClr name="Color has no name">
      <a:srgbClr val="BFD1D2"/>
    </a:custClr>
    <a:custClr name="Color has no name">
      <a:srgbClr val="CBBFC8"/>
    </a:custClr>
    <a:custClr name="Color has no name">
      <a:srgbClr val="EEF6BF"/>
    </a:custClr>
    <a:custClr name="Color has no name">
      <a:srgbClr val="FFF3CE"/>
    </a:custClr>
    <a:custClr name="Color has no name">
      <a:srgbClr val="FCC5D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E5E8F0"/>
    </a:custClr>
    <a:custClr name="Color has no name">
      <a:srgbClr val="FDFAF7"/>
    </a:custClr>
    <a:custClr name="Color has no name">
      <a:srgbClr val="E5ECED"/>
    </a:custClr>
    <a:custClr name="Color has no name">
      <a:srgbClr val="EAE5E9"/>
    </a:custClr>
    <a:custClr name="Color has no name">
      <a:srgbClr val="F8FBE5"/>
    </a:custClr>
    <a:custClr name="Color has no name">
      <a:srgbClr val="FFFAEB"/>
    </a:custClr>
    <a:custClr name="Color has no name">
      <a:srgbClr val="FEE8ED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</a:custClrLst>
  <a:extLst>
    <a:ext uri="{05A4C25C-085E-4340-85A3-A5531E510DB2}">
      <thm15:themeFamily xmlns:thm15="http://schemas.microsoft.com/office/thememl/2012/main" name="Blank.potx" id="{F1F144ED-39A2-4FC9-B6BC-71E2928B5AC0}" vid="{BB83120C-D51A-4A67-AA09-CF0504509400}"/>
    </a:ext>
  </a:extLst>
</a:theme>
</file>

<file path=ppt/theme/theme6.xml><?xml version="1.0" encoding="utf-8"?>
<a:theme xmlns:a="http://schemas.openxmlformats.org/drawingml/2006/main" name="4_Blank">
  <a:themeElements>
    <a:clrScheme name="Novo Nordisk Fonden">
      <a:dk1>
        <a:srgbClr val="000000"/>
      </a:dk1>
      <a:lt1>
        <a:srgbClr val="FFFFFF"/>
      </a:lt1>
      <a:dk2>
        <a:srgbClr val="001965"/>
      </a:dk2>
      <a:lt2>
        <a:srgbClr val="D9D9D9"/>
      </a:lt2>
      <a:accent1>
        <a:srgbClr val="001965"/>
      </a:accent1>
      <a:accent2>
        <a:srgbClr val="6675A2"/>
      </a:accent2>
      <a:accent3>
        <a:srgbClr val="F0CDB4"/>
      </a:accent3>
      <a:accent4>
        <a:srgbClr val="00464B"/>
      </a:accent4>
      <a:accent5>
        <a:srgbClr val="668F92"/>
      </a:accent5>
      <a:accent6>
        <a:srgbClr val="310024"/>
      </a:accent6>
      <a:hlink>
        <a:srgbClr val="848484"/>
      </a:hlink>
      <a:folHlink>
        <a:srgbClr val="AFAFAF"/>
      </a:folHlink>
    </a:clrScheme>
    <a:fontScheme name="Novo Nordisk Fonden">
      <a:majorFont>
        <a:latin typeface="Novo Apply Sans"/>
        <a:ea typeface=""/>
        <a:cs typeface=""/>
      </a:majorFont>
      <a:minorFont>
        <a:latin typeface="Novo Apply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400" spc="1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107000"/>
          </a:lnSpc>
          <a:spcAft>
            <a:spcPts val="600"/>
          </a:spcAft>
          <a:defRPr sz="2400" spc="10" smtClean="0">
            <a:solidFill>
              <a:schemeClr val="tx2"/>
            </a:solidFill>
            <a:latin typeface="Novo Apply Sans" panose="020B0503030000000000" pitchFamily="34" charset="0"/>
          </a:defRPr>
        </a:defPPr>
      </a:lstStyle>
    </a:txDef>
  </a:objectDefaults>
  <a:extraClrSchemeLst/>
  <a:custClrLst>
    <a:custClr name="Novo Blue">
      <a:srgbClr val="001965"/>
    </a:custClr>
    <a:custClr name="Warm Sand">
      <a:srgbClr val="F0CDB4"/>
    </a:custClr>
    <a:custClr name="Petroleum">
      <a:srgbClr val="00464B"/>
    </a:custClr>
    <a:custClr name="Dark Purple">
      <a:srgbClr val="310024"/>
    </a:custClr>
    <a:custClr name="Bright green">
      <a:srgbClr val="BCDB00"/>
    </a:custClr>
    <a:custClr name="Bright yellow">
      <a:srgbClr val="FFD13C"/>
    </a:custClr>
    <a:custClr name="Crimeson red">
      <a:srgbClr val="CD164B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Novo Light Blue">
      <a:srgbClr val="6675A2"/>
    </a:custClr>
    <a:custClr name="Color has no name">
      <a:srgbClr val="F7E3D6"/>
    </a:custClr>
    <a:custClr name="Color has no name">
      <a:srgbClr val="73999C"/>
    </a:custClr>
    <a:custClr name="Color has no name">
      <a:srgbClr val="8E7387"/>
    </a:custClr>
    <a:custClr name="Color has no name">
      <a:srgbClr val="DAEB73"/>
    </a:custClr>
    <a:custClr name="Color has no name">
      <a:srgbClr val="FFE694"/>
    </a:custClr>
    <a:custClr name="Color has no name">
      <a:srgbClr val="FC7F9C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BFC5D8"/>
    </a:custClr>
    <a:custClr name="Color has no name">
      <a:srgbClr val="FBF2EC"/>
    </a:custClr>
    <a:custClr name="Color has no name">
      <a:srgbClr val="BFD1D2"/>
    </a:custClr>
    <a:custClr name="Color has no name">
      <a:srgbClr val="CBBFC8"/>
    </a:custClr>
    <a:custClr name="Color has no name">
      <a:srgbClr val="EEF6BF"/>
    </a:custClr>
    <a:custClr name="Color has no name">
      <a:srgbClr val="FFF3CE"/>
    </a:custClr>
    <a:custClr name="Color has no name">
      <a:srgbClr val="FCC5D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E5E8F0"/>
    </a:custClr>
    <a:custClr name="Color has no name">
      <a:srgbClr val="FDFAF7"/>
    </a:custClr>
    <a:custClr name="Color has no name">
      <a:srgbClr val="E5ECED"/>
    </a:custClr>
    <a:custClr name="Color has no name">
      <a:srgbClr val="EAE5E9"/>
    </a:custClr>
    <a:custClr name="Color has no name">
      <a:srgbClr val="F8FBE5"/>
    </a:custClr>
    <a:custClr name="Color has no name">
      <a:srgbClr val="FFFAEB"/>
    </a:custClr>
    <a:custClr name="Color has no name">
      <a:srgbClr val="FEE8ED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</a:custClrLst>
  <a:extLst>
    <a:ext uri="{05A4C25C-085E-4340-85A3-A5531E510DB2}">
      <thm15:themeFamily xmlns:thm15="http://schemas.microsoft.com/office/thememl/2012/main" name="Blank.potx" id="{F1F144ED-39A2-4FC9-B6BC-71E2928B5AC0}" vid="{BB83120C-D51A-4A67-AA09-CF0504509400}"/>
    </a:ext>
  </a:extLst>
</a:theme>
</file>

<file path=ppt/theme/theme7.xml><?xml version="1.0" encoding="utf-8"?>
<a:theme xmlns:a="http://schemas.openxmlformats.org/drawingml/2006/main" name="5_Blank">
  <a:themeElements>
    <a:clrScheme name="Novo Nordisk Fonden">
      <a:dk1>
        <a:srgbClr val="000000"/>
      </a:dk1>
      <a:lt1>
        <a:srgbClr val="FFFFFF"/>
      </a:lt1>
      <a:dk2>
        <a:srgbClr val="001965"/>
      </a:dk2>
      <a:lt2>
        <a:srgbClr val="D9D9D9"/>
      </a:lt2>
      <a:accent1>
        <a:srgbClr val="001965"/>
      </a:accent1>
      <a:accent2>
        <a:srgbClr val="6675A2"/>
      </a:accent2>
      <a:accent3>
        <a:srgbClr val="F0CDB4"/>
      </a:accent3>
      <a:accent4>
        <a:srgbClr val="00464B"/>
      </a:accent4>
      <a:accent5>
        <a:srgbClr val="668F92"/>
      </a:accent5>
      <a:accent6>
        <a:srgbClr val="310024"/>
      </a:accent6>
      <a:hlink>
        <a:srgbClr val="848484"/>
      </a:hlink>
      <a:folHlink>
        <a:srgbClr val="AFAFAF"/>
      </a:folHlink>
    </a:clrScheme>
    <a:fontScheme name="Novo Nordisk Fonden">
      <a:majorFont>
        <a:latin typeface="Novo Apply Sans"/>
        <a:ea typeface=""/>
        <a:cs typeface=""/>
      </a:majorFont>
      <a:minorFont>
        <a:latin typeface="Novo Apply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400" spc="1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107000"/>
          </a:lnSpc>
          <a:spcAft>
            <a:spcPts val="600"/>
          </a:spcAft>
          <a:defRPr sz="2400" spc="10" smtClean="0">
            <a:solidFill>
              <a:schemeClr val="tx2"/>
            </a:solidFill>
            <a:latin typeface="Novo Apply Sans" panose="020B0503030000000000" pitchFamily="34" charset="0"/>
          </a:defRPr>
        </a:defPPr>
      </a:lstStyle>
    </a:txDef>
  </a:objectDefaults>
  <a:extraClrSchemeLst/>
  <a:custClrLst>
    <a:custClr name="Novo Blue">
      <a:srgbClr val="001965"/>
    </a:custClr>
    <a:custClr name="Warm Sand">
      <a:srgbClr val="F0CDB4"/>
    </a:custClr>
    <a:custClr name="Petroleum">
      <a:srgbClr val="00464B"/>
    </a:custClr>
    <a:custClr name="Dark Purple">
      <a:srgbClr val="310024"/>
    </a:custClr>
    <a:custClr name="Bright green">
      <a:srgbClr val="BCDB00"/>
    </a:custClr>
    <a:custClr name="Bright yellow">
      <a:srgbClr val="FFD13C"/>
    </a:custClr>
    <a:custClr name="Crimeson red">
      <a:srgbClr val="CD164B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Novo Light Blue">
      <a:srgbClr val="6675A2"/>
    </a:custClr>
    <a:custClr name="Color has no name">
      <a:srgbClr val="F7E3D6"/>
    </a:custClr>
    <a:custClr name="Color has no name">
      <a:srgbClr val="73999C"/>
    </a:custClr>
    <a:custClr name="Color has no name">
      <a:srgbClr val="8E7387"/>
    </a:custClr>
    <a:custClr name="Color has no name">
      <a:srgbClr val="DAEB73"/>
    </a:custClr>
    <a:custClr name="Color has no name">
      <a:srgbClr val="FFE694"/>
    </a:custClr>
    <a:custClr name="Color has no name">
      <a:srgbClr val="FC7F9C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BFC5D8"/>
    </a:custClr>
    <a:custClr name="Color has no name">
      <a:srgbClr val="FBF2EC"/>
    </a:custClr>
    <a:custClr name="Color has no name">
      <a:srgbClr val="BFD1D2"/>
    </a:custClr>
    <a:custClr name="Color has no name">
      <a:srgbClr val="CBBFC8"/>
    </a:custClr>
    <a:custClr name="Color has no name">
      <a:srgbClr val="EEF6BF"/>
    </a:custClr>
    <a:custClr name="Color has no name">
      <a:srgbClr val="FFF3CE"/>
    </a:custClr>
    <a:custClr name="Color has no name">
      <a:srgbClr val="FCC5D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E5E8F0"/>
    </a:custClr>
    <a:custClr name="Color has no name">
      <a:srgbClr val="FDFAF7"/>
    </a:custClr>
    <a:custClr name="Color has no name">
      <a:srgbClr val="E5ECED"/>
    </a:custClr>
    <a:custClr name="Color has no name">
      <a:srgbClr val="EAE5E9"/>
    </a:custClr>
    <a:custClr name="Color has no name">
      <a:srgbClr val="F8FBE5"/>
    </a:custClr>
    <a:custClr name="Color has no name">
      <a:srgbClr val="FFFAEB"/>
    </a:custClr>
    <a:custClr name="Color has no name">
      <a:srgbClr val="FEE8ED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</a:custClrLst>
  <a:extLst>
    <a:ext uri="{05A4C25C-085E-4340-85A3-A5531E510DB2}">
      <thm15:themeFamily xmlns:thm15="http://schemas.microsoft.com/office/thememl/2012/main" name="Blank.potx" id="{F1F144ED-39A2-4FC9-B6BC-71E2928B5AC0}" vid="{BB83120C-D51A-4A67-AA09-CF0504509400}"/>
    </a:ext>
  </a:extLst>
</a:theme>
</file>

<file path=ppt/theme/theme8.xml><?xml version="1.0" encoding="utf-8"?>
<a:theme xmlns:a="http://schemas.openxmlformats.org/drawingml/2006/main" name="6_Blank">
  <a:themeElements>
    <a:clrScheme name="Novo Nordisk Fonden">
      <a:dk1>
        <a:srgbClr val="000000"/>
      </a:dk1>
      <a:lt1>
        <a:srgbClr val="FFFFFF"/>
      </a:lt1>
      <a:dk2>
        <a:srgbClr val="001965"/>
      </a:dk2>
      <a:lt2>
        <a:srgbClr val="D9D9D9"/>
      </a:lt2>
      <a:accent1>
        <a:srgbClr val="001965"/>
      </a:accent1>
      <a:accent2>
        <a:srgbClr val="6675A2"/>
      </a:accent2>
      <a:accent3>
        <a:srgbClr val="F0CDB4"/>
      </a:accent3>
      <a:accent4>
        <a:srgbClr val="00464B"/>
      </a:accent4>
      <a:accent5>
        <a:srgbClr val="668F92"/>
      </a:accent5>
      <a:accent6>
        <a:srgbClr val="310024"/>
      </a:accent6>
      <a:hlink>
        <a:srgbClr val="848484"/>
      </a:hlink>
      <a:folHlink>
        <a:srgbClr val="AFAFAF"/>
      </a:folHlink>
    </a:clrScheme>
    <a:fontScheme name="Novo Nordisk Fonden">
      <a:majorFont>
        <a:latin typeface="Novo Apply Sans"/>
        <a:ea typeface=""/>
        <a:cs typeface=""/>
      </a:majorFont>
      <a:minorFont>
        <a:latin typeface="Novo Apply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400" spc="1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107000"/>
          </a:lnSpc>
          <a:spcAft>
            <a:spcPts val="600"/>
          </a:spcAft>
          <a:defRPr sz="2400" spc="10" smtClean="0">
            <a:solidFill>
              <a:schemeClr val="tx2"/>
            </a:solidFill>
            <a:latin typeface="Novo Apply Sans" panose="020B0503030000000000" pitchFamily="34" charset="0"/>
          </a:defRPr>
        </a:defPPr>
      </a:lstStyle>
    </a:txDef>
  </a:objectDefaults>
  <a:extraClrSchemeLst/>
  <a:custClrLst>
    <a:custClr name="Novo Blue">
      <a:srgbClr val="001965"/>
    </a:custClr>
    <a:custClr name="Warm Sand">
      <a:srgbClr val="F0CDB4"/>
    </a:custClr>
    <a:custClr name="Petroleum">
      <a:srgbClr val="00464B"/>
    </a:custClr>
    <a:custClr name="Dark Purple">
      <a:srgbClr val="310024"/>
    </a:custClr>
    <a:custClr name="Bright green">
      <a:srgbClr val="BCDB00"/>
    </a:custClr>
    <a:custClr name="Bright yellow">
      <a:srgbClr val="FFD13C"/>
    </a:custClr>
    <a:custClr name="Crimeson red">
      <a:srgbClr val="CD164B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Novo Light Blue">
      <a:srgbClr val="6675A2"/>
    </a:custClr>
    <a:custClr name="Color has no name">
      <a:srgbClr val="F7E3D6"/>
    </a:custClr>
    <a:custClr name="Color has no name">
      <a:srgbClr val="73999C"/>
    </a:custClr>
    <a:custClr name="Color has no name">
      <a:srgbClr val="8E7387"/>
    </a:custClr>
    <a:custClr name="Color has no name">
      <a:srgbClr val="DAEB73"/>
    </a:custClr>
    <a:custClr name="Color has no name">
      <a:srgbClr val="FFE694"/>
    </a:custClr>
    <a:custClr name="Color has no name">
      <a:srgbClr val="FC7F9C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BFC5D8"/>
    </a:custClr>
    <a:custClr name="Color has no name">
      <a:srgbClr val="FBF2EC"/>
    </a:custClr>
    <a:custClr name="Color has no name">
      <a:srgbClr val="BFD1D2"/>
    </a:custClr>
    <a:custClr name="Color has no name">
      <a:srgbClr val="CBBFC8"/>
    </a:custClr>
    <a:custClr name="Color has no name">
      <a:srgbClr val="EEF6BF"/>
    </a:custClr>
    <a:custClr name="Color has no name">
      <a:srgbClr val="FFF3CE"/>
    </a:custClr>
    <a:custClr name="Color has no name">
      <a:srgbClr val="FCC5D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E5E8F0"/>
    </a:custClr>
    <a:custClr name="Color has no name">
      <a:srgbClr val="FDFAF7"/>
    </a:custClr>
    <a:custClr name="Color has no name">
      <a:srgbClr val="E5ECED"/>
    </a:custClr>
    <a:custClr name="Color has no name">
      <a:srgbClr val="EAE5E9"/>
    </a:custClr>
    <a:custClr name="Color has no name">
      <a:srgbClr val="F8FBE5"/>
    </a:custClr>
    <a:custClr name="Color has no name">
      <a:srgbClr val="FFFAEB"/>
    </a:custClr>
    <a:custClr name="Color has no name">
      <a:srgbClr val="FEE8ED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</a:custClrLst>
  <a:extLst>
    <a:ext uri="{05A4C25C-085E-4340-85A3-A5531E510DB2}">
      <thm15:themeFamily xmlns:thm15="http://schemas.microsoft.com/office/thememl/2012/main" name="Blank.potx" id="{F1F144ED-39A2-4FC9-B6BC-71E2928B5AC0}" vid="{BB83120C-D51A-4A67-AA09-CF0504509400}"/>
    </a:ext>
  </a:extLst>
</a:theme>
</file>

<file path=ppt/theme/theme9.xml><?xml version="1.0" encoding="utf-8"?>
<a:theme xmlns:a="http://schemas.openxmlformats.org/drawingml/2006/main" name="7_Blank">
  <a:themeElements>
    <a:clrScheme name="Novo Nordisk Fonden">
      <a:dk1>
        <a:srgbClr val="000000"/>
      </a:dk1>
      <a:lt1>
        <a:srgbClr val="FFFFFF"/>
      </a:lt1>
      <a:dk2>
        <a:srgbClr val="001965"/>
      </a:dk2>
      <a:lt2>
        <a:srgbClr val="D9D9D9"/>
      </a:lt2>
      <a:accent1>
        <a:srgbClr val="001965"/>
      </a:accent1>
      <a:accent2>
        <a:srgbClr val="6675A2"/>
      </a:accent2>
      <a:accent3>
        <a:srgbClr val="F0CDB4"/>
      </a:accent3>
      <a:accent4>
        <a:srgbClr val="00464B"/>
      </a:accent4>
      <a:accent5>
        <a:srgbClr val="668F92"/>
      </a:accent5>
      <a:accent6>
        <a:srgbClr val="310024"/>
      </a:accent6>
      <a:hlink>
        <a:srgbClr val="848484"/>
      </a:hlink>
      <a:folHlink>
        <a:srgbClr val="AFAFAF"/>
      </a:folHlink>
    </a:clrScheme>
    <a:fontScheme name="Novo Nordisk Fonden">
      <a:majorFont>
        <a:latin typeface="Novo Apply Sans"/>
        <a:ea typeface=""/>
        <a:cs typeface=""/>
      </a:majorFont>
      <a:minorFont>
        <a:latin typeface="Novo Apply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400" spc="1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107000"/>
          </a:lnSpc>
          <a:spcAft>
            <a:spcPts val="600"/>
          </a:spcAft>
          <a:defRPr sz="2400" spc="10" smtClean="0">
            <a:solidFill>
              <a:schemeClr val="tx2"/>
            </a:solidFill>
            <a:latin typeface="Novo Apply Sans" panose="020B0503030000000000" pitchFamily="34" charset="0"/>
          </a:defRPr>
        </a:defPPr>
      </a:lstStyle>
    </a:txDef>
  </a:objectDefaults>
  <a:extraClrSchemeLst/>
  <a:custClrLst>
    <a:custClr name="Novo Blue">
      <a:srgbClr val="001965"/>
    </a:custClr>
    <a:custClr name="Warm Sand">
      <a:srgbClr val="F0CDB4"/>
    </a:custClr>
    <a:custClr name="Petroleum">
      <a:srgbClr val="00464B"/>
    </a:custClr>
    <a:custClr name="Dark Purple">
      <a:srgbClr val="310024"/>
    </a:custClr>
    <a:custClr name="Bright green">
      <a:srgbClr val="BCDB00"/>
    </a:custClr>
    <a:custClr name="Bright yellow">
      <a:srgbClr val="FFD13C"/>
    </a:custClr>
    <a:custClr name="Crimeson red">
      <a:srgbClr val="CD164B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Novo Light Blue">
      <a:srgbClr val="6675A2"/>
    </a:custClr>
    <a:custClr name="Color has no name">
      <a:srgbClr val="F7E3D6"/>
    </a:custClr>
    <a:custClr name="Color has no name">
      <a:srgbClr val="73999C"/>
    </a:custClr>
    <a:custClr name="Color has no name">
      <a:srgbClr val="8E7387"/>
    </a:custClr>
    <a:custClr name="Color has no name">
      <a:srgbClr val="DAEB73"/>
    </a:custClr>
    <a:custClr name="Color has no name">
      <a:srgbClr val="FFE694"/>
    </a:custClr>
    <a:custClr name="Color has no name">
      <a:srgbClr val="FC7F9C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BFC5D8"/>
    </a:custClr>
    <a:custClr name="Color has no name">
      <a:srgbClr val="FBF2EC"/>
    </a:custClr>
    <a:custClr name="Color has no name">
      <a:srgbClr val="BFD1D2"/>
    </a:custClr>
    <a:custClr name="Color has no name">
      <a:srgbClr val="CBBFC8"/>
    </a:custClr>
    <a:custClr name="Color has no name">
      <a:srgbClr val="EEF6BF"/>
    </a:custClr>
    <a:custClr name="Color has no name">
      <a:srgbClr val="FFF3CE"/>
    </a:custClr>
    <a:custClr name="Color has no name">
      <a:srgbClr val="FCC5D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E5E8F0"/>
    </a:custClr>
    <a:custClr name="Color has no name">
      <a:srgbClr val="FDFAF7"/>
    </a:custClr>
    <a:custClr name="Color has no name">
      <a:srgbClr val="E5ECED"/>
    </a:custClr>
    <a:custClr name="Color has no name">
      <a:srgbClr val="EAE5E9"/>
    </a:custClr>
    <a:custClr name="Color has no name">
      <a:srgbClr val="F8FBE5"/>
    </a:custClr>
    <a:custClr name="Color has no name">
      <a:srgbClr val="FFFAEB"/>
    </a:custClr>
    <a:custClr name="Color has no name">
      <a:srgbClr val="FEE8ED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</a:custClrLst>
  <a:extLst>
    <a:ext uri="{05A4C25C-085E-4340-85A3-A5531E510DB2}">
      <thm15:themeFamily xmlns:thm15="http://schemas.microsoft.com/office/thememl/2012/main" name="Blank.potx" id="{F1F144ED-39A2-4FC9-B6BC-71E2928B5AC0}" vid="{BB83120C-D51A-4A67-AA09-CF0504509400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Enhancing Inclusive Economic Growth</Template>
  <TotalTime>63</TotalTime>
  <Words>1627</Words>
  <Application>Microsoft Office PowerPoint</Application>
  <PresentationFormat>Widescreen</PresentationFormat>
  <Paragraphs>245</Paragraphs>
  <Slides>27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45" baseType="lpstr">
      <vt:lpstr>Arial</vt:lpstr>
      <vt:lpstr>Calibri</vt:lpstr>
      <vt:lpstr>Calibri Light</vt:lpstr>
      <vt:lpstr>Garamond</vt:lpstr>
      <vt:lpstr>Novo Apply Sans</vt:lpstr>
      <vt:lpstr>Kantoorthema</vt:lpstr>
      <vt:lpstr>Blank</vt:lpstr>
      <vt:lpstr>1_Blank</vt:lpstr>
      <vt:lpstr>2_Blank</vt:lpstr>
      <vt:lpstr>3_Blank</vt:lpstr>
      <vt:lpstr>4_Blank</vt:lpstr>
      <vt:lpstr>5_Blank</vt:lpstr>
      <vt:lpstr>6_Blank</vt:lpstr>
      <vt:lpstr>7_Blank</vt:lpstr>
      <vt:lpstr>8_Blank</vt:lpstr>
      <vt:lpstr>9_Blank</vt:lpstr>
      <vt:lpstr>Rückblick</vt:lpstr>
      <vt:lpstr>think-cell Slide</vt:lpstr>
      <vt:lpstr>PowerPoint Presentation</vt:lpstr>
      <vt:lpstr>PowerPoint Presentation</vt:lpstr>
      <vt:lpstr>PowerPoint Presentation</vt:lpstr>
      <vt:lpstr>Novo Nordisk Foundation’s support to interdisciplinary science</vt:lpstr>
      <vt:lpstr>Facts about the  Novo Nordisk Foundation (2020)</vt:lpstr>
      <vt:lpstr>We fully support the life science cycle  - from basic education and research through innovation, start-ups and globally leading companies</vt:lpstr>
      <vt:lpstr>Interdisciplinarity is one of our focus areas</vt:lpstr>
      <vt:lpstr>Interdisciplinary Synergy Programmes</vt:lpstr>
      <vt:lpstr>Funding areas and grant types</vt:lpstr>
      <vt:lpstr>Challenge Programme</vt:lpstr>
      <vt:lpstr>New Exploratory Research and Discovery (NERD) Programme</vt:lpstr>
      <vt:lpstr>Share of journal articles in top 1% and 10% of the world’s most frequently cited articles by number of field of sciences for authors and for all NNF-funded journal articles</vt:lpstr>
      <vt:lpstr>Implementation of partial randomisation to support more interdisciplinary (high risk/high gain) research</vt:lpstr>
      <vt:lpstr>PowerPoint Presentation</vt:lpstr>
      <vt:lpstr>INTERDISCIPLINARY KNOWLEDGE  EXCHANGE IN PRACTICE The Project Knowledge Transfer Center East – Innovation Matters   </vt:lpstr>
      <vt:lpstr>Who we are</vt:lpstr>
      <vt:lpstr> INTERDISCIPLINARY KNOWLEDGE  EXCHANGE IN PRACTICE: Knowledge Transfer Centers</vt:lpstr>
      <vt:lpstr> INTERDISCIPLINARY KNOWLEDGE  EXCHANGE IN PRACTICE: Knowledge Transfer Center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ntact &amp;  Further activitie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Youssef Ramadan</dc:creator>
  <cp:lastModifiedBy>Caterina Tognoni</cp:lastModifiedBy>
  <cp:revision>10</cp:revision>
  <dcterms:created xsi:type="dcterms:W3CDTF">2021-06-29T08:45:31Z</dcterms:created>
  <dcterms:modified xsi:type="dcterms:W3CDTF">2021-10-19T07:13:30Z</dcterms:modified>
</cp:coreProperties>
</file>